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522" r:id="rId7"/>
    <p:sldMasterId id="2147484838" r:id="rId8"/>
    <p:sldMasterId id="2147484916" r:id="rId9"/>
  </p:sldMasterIdLst>
  <p:notesMasterIdLst>
    <p:notesMasterId r:id="rId29"/>
  </p:notesMasterIdLst>
  <p:handoutMasterIdLst>
    <p:handoutMasterId r:id="rId30"/>
  </p:handoutMasterIdLst>
  <p:sldIdLst>
    <p:sldId id="483" r:id="rId10"/>
    <p:sldId id="432" r:id="rId11"/>
    <p:sldId id="495" r:id="rId12"/>
    <p:sldId id="496" r:id="rId13"/>
    <p:sldId id="497" r:id="rId14"/>
    <p:sldId id="504" r:id="rId15"/>
    <p:sldId id="484" r:id="rId16"/>
    <p:sldId id="501" r:id="rId17"/>
    <p:sldId id="502" r:id="rId18"/>
    <p:sldId id="511" r:id="rId19"/>
    <p:sldId id="506" r:id="rId20"/>
    <p:sldId id="508" r:id="rId21"/>
    <p:sldId id="510" r:id="rId22"/>
    <p:sldId id="507" r:id="rId23"/>
    <p:sldId id="509" r:id="rId24"/>
    <p:sldId id="498" r:id="rId25"/>
    <p:sldId id="499" r:id="rId26"/>
    <p:sldId id="505" r:id="rId27"/>
    <p:sldId id="471" r:id="rId28"/>
  </p:sldIdLst>
  <p:sldSz cx="12190413" cy="6858000"/>
  <p:notesSz cx="6797675" cy="9926638"/>
  <p:custDataLst>
    <p:tags r:id="rId31"/>
  </p:custDataLst>
  <p:defaultTextStyle>
    <a:defPPr>
      <a:defRPr lang="de-DE"/>
    </a:defPPr>
    <a:lvl1pPr marL="0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90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85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70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65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55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45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36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25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  <p15:guide id="27" orient="horz" pos="1481">
          <p15:clr>
            <a:srgbClr val="A4A3A4"/>
          </p15:clr>
        </p15:guide>
        <p15:guide id="28" orient="horz" pos="3331">
          <p15:clr>
            <a:srgbClr val="A4A3A4"/>
          </p15:clr>
        </p15:guide>
        <p15:guide id="29" pos="10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54" userDrawn="1">
          <p15:clr>
            <a:srgbClr val="A4A3A4"/>
          </p15:clr>
        </p15:guide>
        <p15:guide id="2" pos="2132" userDrawn="1">
          <p15:clr>
            <a:srgbClr val="A4A3A4"/>
          </p15:clr>
        </p15:guide>
        <p15:guide id="3" orient="horz" pos="2831" userDrawn="1">
          <p15:clr>
            <a:srgbClr val="A4A3A4"/>
          </p15:clr>
        </p15:guide>
        <p15:guide id="4" pos="19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orden Redlich" initials="GR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1A5D"/>
    <a:srgbClr val="008ACB"/>
    <a:srgbClr val="FFFFFF"/>
    <a:srgbClr val="89D329"/>
    <a:srgbClr val="D0EEA9"/>
    <a:srgbClr val="00617F"/>
    <a:srgbClr val="000000"/>
    <a:srgbClr val="00BCFF"/>
    <a:srgbClr val="10384F"/>
    <a:srgbClr val="D30F4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6" autoAdjust="0"/>
    <p:restoredTop sz="94975" autoAdjust="0"/>
  </p:normalViewPr>
  <p:slideViewPr>
    <p:cSldViewPr snapToGrid="0" snapToObjects="1" showGuides="1">
      <p:cViewPr varScale="1">
        <p:scale>
          <a:sx n="117" d="100"/>
          <a:sy n="117" d="100"/>
        </p:scale>
        <p:origin x="504" y="64"/>
      </p:cViewPr>
      <p:guideLst>
        <p:guide orient="horz" pos="1093"/>
        <p:guide pos="619"/>
        <p:guide orient="horz" pos="2478"/>
        <p:guide orient="horz" pos="2704"/>
        <p:guide orient="horz" pos="4086"/>
        <p:guide orient="horz" pos="2592"/>
        <p:guide pos="7422"/>
        <p:guide pos="2149"/>
        <p:guide pos="3908"/>
        <p:guide pos="2376"/>
        <p:guide pos="5666"/>
        <p:guide pos="5894"/>
        <p:guide pos="4134"/>
        <p:guide pos="4020"/>
        <p:guide orient="horz" pos="1481"/>
        <p:guide orient="horz" pos="3331"/>
        <p:guide pos="10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3906"/>
    </p:cViewPr>
  </p:sorterViewPr>
  <p:notesViewPr>
    <p:cSldViewPr snapToGrid="0" snapToObjects="1">
      <p:cViewPr varScale="1">
        <p:scale>
          <a:sx n="76" d="100"/>
          <a:sy n="76" d="100"/>
        </p:scale>
        <p:origin x="-4026" y="-108"/>
      </p:cViewPr>
      <p:guideLst>
        <p:guide orient="horz" pos="2854"/>
        <p:guide pos="2132"/>
        <p:guide orient="horz" pos="2831"/>
        <p:guide pos="1942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79823" y="175064"/>
            <a:ext cx="5905000" cy="1769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14" indent="0">
              <a:defRPr sz="700"/>
            </a:lvl2pPr>
            <a:lvl3pPr marL="0" indent="0">
              <a:defRPr sz="700"/>
            </a:lvl3pPr>
            <a:lvl4pPr marL="4514" indent="0">
              <a:defRPr sz="700"/>
            </a:lvl4pPr>
            <a:lvl5pPr marL="0" indent="0">
              <a:defRPr sz="700"/>
            </a:lvl5pPr>
            <a:lvl6pPr marL="4514" indent="0">
              <a:defRPr sz="700"/>
            </a:lvl6pPr>
            <a:lvl7pPr marL="0" indent="0">
              <a:defRPr sz="700"/>
            </a:lvl7pPr>
            <a:lvl8pPr marL="4514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35195" y="10152074"/>
            <a:ext cx="485792" cy="176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22/19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88426" y="10152074"/>
            <a:ext cx="5494781" cy="176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14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14" indent="0">
              <a:defRPr sz="700"/>
            </a:lvl4pPr>
            <a:lvl5pPr marL="0" indent="0">
              <a:defRPr sz="700"/>
            </a:lvl5pPr>
            <a:lvl6pPr marL="4514" indent="0">
              <a:defRPr sz="700"/>
            </a:lvl6pPr>
            <a:lvl7pPr marL="0" indent="0">
              <a:defRPr sz="700"/>
            </a:lvl7pPr>
            <a:lvl8pPr marL="4514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3396" y="10152074"/>
            <a:ext cx="188025" cy="176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5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61346" y="196447"/>
            <a:ext cx="359643" cy="392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wmf"/><Relationship Id="rId1" Type="http://schemas.openxmlformats.org/officeDocument/2006/relationships/theme" Target="../theme/theme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44463" y="611188"/>
            <a:ext cx="3263900" cy="183673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6652" tIns="43326" rIns="86652" bIns="4332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0257" y="2911024"/>
            <a:ext cx="6421039" cy="64046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7306" y="181557"/>
            <a:ext cx="5822896" cy="183462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14" indent="0">
              <a:defRPr sz="700"/>
            </a:lvl2pPr>
            <a:lvl3pPr marL="0" indent="0">
              <a:defRPr sz="700"/>
            </a:lvl3pPr>
            <a:lvl4pPr marL="4514" indent="0">
              <a:defRPr sz="700"/>
            </a:lvl4pPr>
            <a:lvl5pPr marL="0" indent="0">
              <a:defRPr sz="700"/>
            </a:lvl5pPr>
            <a:lvl6pPr marL="4514" indent="0">
              <a:defRPr sz="700"/>
            </a:lvl6pPr>
            <a:lvl7pPr marL="0" indent="0">
              <a:defRPr sz="700"/>
            </a:lvl7pPr>
            <a:lvl8pPr marL="4514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076619" y="9568247"/>
            <a:ext cx="533153" cy="18346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22/19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0586" y="9568247"/>
            <a:ext cx="5393860" cy="18346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14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14" indent="0">
              <a:defRPr sz="700"/>
            </a:lvl4pPr>
            <a:lvl5pPr marL="0" indent="0">
              <a:defRPr sz="700"/>
            </a:lvl5pPr>
            <a:lvl6pPr marL="4514" indent="0">
              <a:defRPr sz="700"/>
            </a:lvl6pPr>
            <a:lvl7pPr marL="0" indent="0">
              <a:defRPr sz="700"/>
            </a:lvl7pPr>
            <a:lvl8pPr marL="4514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0301" y="9568247"/>
            <a:ext cx="206152" cy="18346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2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15160" y="203734"/>
            <a:ext cx="394612" cy="40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85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3995" indent="-143995" algn="l" defTabSz="914385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7995" indent="-143995" algn="l" defTabSz="914385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1990" indent="-143995" algn="l" defTabSz="914385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5990" indent="-143995" algn="l" defTabSz="914385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5990" indent="-143995" algn="l" defTabSz="914385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5990" indent="-143995" algn="l" defTabSz="914385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5990" indent="-143995" algn="l" defTabSz="914385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5990" indent="-143995" algn="l" defTabSz="914385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9875" y="269875"/>
            <a:ext cx="3132138" cy="1762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325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w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18.emf"/><Relationship Id="rId10" Type="http://schemas.openxmlformats.org/officeDocument/2006/relationships/image" Target="../media/image8.w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w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w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wmf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wmf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.bin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w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w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2.bin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2" y="-1"/>
            <a:ext cx="12184108" cy="6861544"/>
          </a:xfrm>
          <a:prstGeom prst="rect">
            <a:avLst/>
          </a:prstGeom>
        </p:spPr>
      </p:pic>
      <p:grpSp>
        <p:nvGrpSpPr>
          <p:cNvPr id="15" name="Group 219"/>
          <p:cNvGrpSpPr>
            <a:grpSpLocks noChangeAspect="1"/>
          </p:cNvGrpSpPr>
          <p:nvPr userDrawn="1"/>
        </p:nvGrpSpPr>
        <p:grpSpPr bwMode="gray">
          <a:xfrm>
            <a:off x="11106108" y="436516"/>
            <a:ext cx="587892" cy="589010"/>
            <a:chOff x="6936" y="180"/>
            <a:chExt cx="526" cy="527"/>
          </a:xfrm>
          <a:solidFill>
            <a:schemeClr val="bg1"/>
          </a:solidFill>
        </p:grpSpPr>
        <p:sp>
          <p:nvSpPr>
            <p:cNvPr id="17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29" name="Content Placeholder 14"/>
          <p:cNvSpPr>
            <a:spLocks noGrp="1"/>
          </p:cNvSpPr>
          <p:nvPr>
            <p:ph sz="quarter" idx="14"/>
          </p:nvPr>
        </p:nvSpPr>
        <p:spPr>
          <a:xfrm>
            <a:off x="484190" y="830932"/>
            <a:ext cx="4187825" cy="1397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i="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14"/>
          <p:cNvSpPr>
            <a:spLocks noGrp="1"/>
          </p:cNvSpPr>
          <p:nvPr>
            <p:ph sz="quarter" idx="15"/>
          </p:nvPr>
        </p:nvSpPr>
        <p:spPr>
          <a:xfrm>
            <a:off x="484190" y="437561"/>
            <a:ext cx="4187825" cy="393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arallelogram 15"/>
          <p:cNvSpPr/>
          <p:nvPr userDrawn="1"/>
        </p:nvSpPr>
        <p:spPr bwMode="gray">
          <a:xfrm>
            <a:off x="5057775" y="0"/>
            <a:ext cx="5772150" cy="6861544"/>
          </a:xfrm>
          <a:prstGeom prst="parallelogram">
            <a:avLst>
              <a:gd name="adj" fmla="val 2901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13962" y="0"/>
            <a:ext cx="5821681" cy="6861545"/>
          </a:xfrm>
          <a:prstGeom prst="parallelogram">
            <a:avLst>
              <a:gd name="adj" fmla="val 28792"/>
            </a:avLst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14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486943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B90FE55-D2AD-48FF-A1AF-DF303CD3A6B6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1627188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4085635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6544082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9002529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17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8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28" name="Straight Connector 27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11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486943" cy="6858000"/>
          </a:xfrm>
          <a:prstGeom prst="rect">
            <a:avLst/>
          </a:prstGeom>
        </p:spPr>
      </p:pic>
      <p:sp>
        <p:nvSpPr>
          <p:cNvPr id="28" name="Content Placeholder 3"/>
          <p:cNvSpPr>
            <a:spLocks noGrp="1"/>
          </p:cNvSpPr>
          <p:nvPr>
            <p:ph sz="quarter" idx="16"/>
          </p:nvPr>
        </p:nvSpPr>
        <p:spPr>
          <a:xfrm>
            <a:off x="1627187" y="2428875"/>
            <a:ext cx="5643111" cy="1863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104862"/>
                </a:solidFill>
              </a:defRPr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3"/>
          <p:cNvSpPr>
            <a:spLocks noGrp="1"/>
          </p:cNvSpPr>
          <p:nvPr>
            <p:ph type="pic" sz="quarter" idx="17"/>
          </p:nvPr>
        </p:nvSpPr>
        <p:spPr>
          <a:xfrm>
            <a:off x="1627190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Picture Placeholder 23"/>
          <p:cNvSpPr>
            <a:spLocks noGrp="1"/>
          </p:cNvSpPr>
          <p:nvPr>
            <p:ph type="pic" sz="quarter" idx="18"/>
          </p:nvPr>
        </p:nvSpPr>
        <p:spPr>
          <a:xfrm>
            <a:off x="3583558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Picture Placeholder 23"/>
          <p:cNvSpPr>
            <a:spLocks noGrp="1"/>
          </p:cNvSpPr>
          <p:nvPr>
            <p:ph type="pic" sz="quarter" idx="19"/>
          </p:nvPr>
        </p:nvSpPr>
        <p:spPr>
          <a:xfrm>
            <a:off x="5539926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0F41499-2B3D-456A-9DDC-FEDFCF9E65CE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grpSp>
        <p:nvGrpSpPr>
          <p:cNvPr id="16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7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33" name="Straight Connector 32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eform 31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634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47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651195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B16FD53-2199-4F9F-9E0E-7ABC274EDB8B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69" y="1732751"/>
            <a:ext cx="10132312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4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918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25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1269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651195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586ACEF-59A5-4F4A-B20D-CDF8EB015529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69" y="1732751"/>
            <a:ext cx="6038706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4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514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651195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B60C831-3F8E-4C75-9CB2-A140AC5FED5C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1627188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4085635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6544082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9002529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0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6453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 35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634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651195" cy="6858000"/>
          </a:xfrm>
          <a:prstGeom prst="rect">
            <a:avLst/>
          </a:prstGeom>
        </p:spPr>
      </p:pic>
      <p:sp>
        <p:nvSpPr>
          <p:cNvPr id="28" name="Content Placeholder 3"/>
          <p:cNvSpPr>
            <a:spLocks noGrp="1"/>
          </p:cNvSpPr>
          <p:nvPr>
            <p:ph sz="quarter" idx="16"/>
          </p:nvPr>
        </p:nvSpPr>
        <p:spPr>
          <a:xfrm>
            <a:off x="1627187" y="2428875"/>
            <a:ext cx="5643111" cy="1863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104862"/>
                </a:solidFill>
              </a:defRPr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3"/>
          <p:cNvSpPr>
            <a:spLocks noGrp="1"/>
          </p:cNvSpPr>
          <p:nvPr>
            <p:ph type="pic" sz="quarter" idx="17"/>
          </p:nvPr>
        </p:nvSpPr>
        <p:spPr>
          <a:xfrm>
            <a:off x="1627190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Picture Placeholder 23"/>
          <p:cNvSpPr>
            <a:spLocks noGrp="1"/>
          </p:cNvSpPr>
          <p:nvPr>
            <p:ph type="pic" sz="quarter" idx="18"/>
          </p:nvPr>
        </p:nvSpPr>
        <p:spPr>
          <a:xfrm>
            <a:off x="3583558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Picture Placeholder 23"/>
          <p:cNvSpPr>
            <a:spLocks noGrp="1"/>
          </p:cNvSpPr>
          <p:nvPr>
            <p:ph type="pic" sz="quarter" idx="19"/>
          </p:nvPr>
        </p:nvSpPr>
        <p:spPr>
          <a:xfrm>
            <a:off x="5539926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7615C67-319F-41E1-ACD8-9DBF5025AA4C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9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462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A984630-6759-4551-9BAF-37DCBC99B33B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69" y="1732751"/>
            <a:ext cx="10132312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6" y="0"/>
            <a:ext cx="1652639" cy="6858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4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185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27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1269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7FC43AD-4D25-45E3-8410-675A408C8AAE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71" y="1732751"/>
            <a:ext cx="6048231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6" y="0"/>
            <a:ext cx="1652639" cy="6858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4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6815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4B4B082-92AB-4D82-9FC3-E5A4E5F3C80C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1627188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4085635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6544082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9002529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6" y="0"/>
            <a:ext cx="1652639" cy="6858000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0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092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 35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634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6"/>
          </p:nvPr>
        </p:nvSpPr>
        <p:spPr>
          <a:xfrm>
            <a:off x="1627187" y="2428875"/>
            <a:ext cx="5643111" cy="1863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104862"/>
                </a:solidFill>
              </a:defRPr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3"/>
          <p:cNvSpPr>
            <a:spLocks noGrp="1"/>
          </p:cNvSpPr>
          <p:nvPr>
            <p:ph type="pic" sz="quarter" idx="17"/>
          </p:nvPr>
        </p:nvSpPr>
        <p:spPr>
          <a:xfrm>
            <a:off x="1627190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Picture Placeholder 23"/>
          <p:cNvSpPr>
            <a:spLocks noGrp="1"/>
          </p:cNvSpPr>
          <p:nvPr>
            <p:ph type="pic" sz="quarter" idx="18"/>
          </p:nvPr>
        </p:nvSpPr>
        <p:spPr>
          <a:xfrm>
            <a:off x="3583558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Picture Placeholder 23"/>
          <p:cNvSpPr>
            <a:spLocks noGrp="1"/>
          </p:cNvSpPr>
          <p:nvPr>
            <p:ph type="pic" sz="quarter" idx="19"/>
          </p:nvPr>
        </p:nvSpPr>
        <p:spPr>
          <a:xfrm>
            <a:off x="5539926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69EA102-64FB-42A8-A751-0CE1ABC2B26B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6" y="0"/>
            <a:ext cx="1652639" cy="685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8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073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2" y="1"/>
            <a:ext cx="12184108" cy="6861545"/>
          </a:xfrm>
          <a:prstGeom prst="rect">
            <a:avLst/>
          </a:prstGeom>
        </p:spPr>
      </p:pic>
      <p:grpSp>
        <p:nvGrpSpPr>
          <p:cNvPr id="17" name="Group 219"/>
          <p:cNvGrpSpPr>
            <a:grpSpLocks noChangeAspect="1"/>
          </p:cNvGrpSpPr>
          <p:nvPr userDrawn="1"/>
        </p:nvGrpSpPr>
        <p:grpSpPr bwMode="gray">
          <a:xfrm>
            <a:off x="11106108" y="436516"/>
            <a:ext cx="587892" cy="589010"/>
            <a:chOff x="6936" y="180"/>
            <a:chExt cx="526" cy="527"/>
          </a:xfrm>
          <a:solidFill>
            <a:schemeClr val="bg1"/>
          </a:solidFill>
        </p:grpSpPr>
        <p:sp>
          <p:nvSpPr>
            <p:cNvPr id="19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30" name="Content Placeholder 14"/>
          <p:cNvSpPr>
            <a:spLocks noGrp="1"/>
          </p:cNvSpPr>
          <p:nvPr>
            <p:ph sz="quarter" idx="14"/>
          </p:nvPr>
        </p:nvSpPr>
        <p:spPr>
          <a:xfrm>
            <a:off x="484190" y="830932"/>
            <a:ext cx="4187825" cy="1397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i="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4"/>
          <p:cNvSpPr>
            <a:spLocks noGrp="1"/>
          </p:cNvSpPr>
          <p:nvPr>
            <p:ph sz="quarter" idx="15"/>
          </p:nvPr>
        </p:nvSpPr>
        <p:spPr>
          <a:xfrm>
            <a:off x="484190" y="437561"/>
            <a:ext cx="4187825" cy="393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13962" y="0"/>
            <a:ext cx="5821681" cy="6861545"/>
          </a:xfrm>
          <a:prstGeom prst="parallelogram">
            <a:avLst>
              <a:gd name="adj" fmla="val 28792"/>
            </a:avLst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7782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D282EA4-4188-4FF7-B1BE-EC7B52D19262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3" y="1732752"/>
            <a:ext cx="522000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605" y="1732752"/>
            <a:ext cx="522000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1878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0284" y="1138299"/>
            <a:ext cx="1079943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4AAEE20-4E76-4E65-BEAC-2367817BB415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2" y="3892751"/>
            <a:ext cx="522000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51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0282" y="1732750"/>
            <a:ext cx="5220000" cy="1800000"/>
          </a:xfrm>
        </p:spPr>
        <p:txBody>
          <a:bodyPr tIns="539996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39996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303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C05A550-3213-4EE7-9C24-05FCC6913404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149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F0C0894-EA60-4293-9838-900EF3807E7F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0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8048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7BC894-5F4D-4F6F-BF7E-C29F44ED4F36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9" name="Group 219"/>
          <p:cNvGrpSpPr>
            <a:grpSpLocks noChangeAspect="1"/>
          </p:cNvGrpSpPr>
          <p:nvPr/>
        </p:nvGrpSpPr>
        <p:grpSpPr bwMode="black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0" name="Freeform 220"/>
            <p:cNvSpPr>
              <a:spLocks/>
            </p:cNvSpPr>
            <p:nvPr/>
          </p:nvSpPr>
          <p:spPr bwMode="black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221"/>
            <p:cNvSpPr>
              <a:spLocks/>
            </p:cNvSpPr>
            <p:nvPr/>
          </p:nvSpPr>
          <p:spPr bwMode="black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222"/>
            <p:cNvSpPr>
              <a:spLocks/>
            </p:cNvSpPr>
            <p:nvPr/>
          </p:nvSpPr>
          <p:spPr bwMode="black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3"/>
            <p:cNvSpPr>
              <a:spLocks noEditPoints="1"/>
            </p:cNvSpPr>
            <p:nvPr/>
          </p:nvSpPr>
          <p:spPr bwMode="black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4"/>
            <p:cNvSpPr>
              <a:spLocks noEditPoints="1"/>
            </p:cNvSpPr>
            <p:nvPr/>
          </p:nvSpPr>
          <p:spPr bwMode="black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5"/>
            <p:cNvSpPr>
              <a:spLocks noEditPoints="1"/>
            </p:cNvSpPr>
            <p:nvPr/>
          </p:nvSpPr>
          <p:spPr bwMode="black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6"/>
            <p:cNvSpPr>
              <a:spLocks noEditPoints="1"/>
            </p:cNvSpPr>
            <p:nvPr/>
          </p:nvSpPr>
          <p:spPr bwMode="black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7"/>
            <p:cNvSpPr>
              <a:spLocks noEditPoints="1"/>
            </p:cNvSpPr>
            <p:nvPr/>
          </p:nvSpPr>
          <p:spPr bwMode="black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8"/>
            <p:cNvSpPr>
              <a:spLocks noEditPoints="1"/>
            </p:cNvSpPr>
            <p:nvPr/>
          </p:nvSpPr>
          <p:spPr bwMode="black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9"/>
            <p:cNvSpPr>
              <a:spLocks noEditPoints="1"/>
            </p:cNvSpPr>
            <p:nvPr/>
          </p:nvSpPr>
          <p:spPr bwMode="black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670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4" y="551657"/>
            <a:ext cx="10800000" cy="5933094"/>
          </a:xfrm>
        </p:spPr>
        <p:txBody>
          <a:bodyPr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89B84-2254-4F98-A32B-E7D5B5B04618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388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0" y="0"/>
            <a:ext cx="974672" cy="1735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419481E-E0DC-412E-83E7-6FCAB6A16897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2" y="0"/>
            <a:ext cx="12190413" cy="6858000"/>
          </a:xfrm>
        </p:spPr>
        <p:txBody>
          <a:bodyPr tIns="539996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6635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2" y="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753DCEF-7110-4781-9966-3663FAEA5AC5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72">
              <a:defRPr/>
            </a:pPr>
            <a:r>
              <a:rPr lang="en-US" sz="1100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96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18" rIns="91440" bIns="45718" numCol="1" anchor="t" anchorCtr="0" compatLnSpc="1">
            <a:prstTxWarp prst="textNoShape">
              <a:avLst/>
            </a:prstTxWarp>
          </a:bodyPr>
          <a:lstStyle/>
          <a:p>
            <a:pPr defTabSz="91439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875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2" y="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40"/>
              </a:gs>
              <a:gs pos="0">
                <a:srgbClr val="2B6640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1" y="1732759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B3736D5-8248-4582-B952-B6242C0D4B09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72">
              <a:defRPr/>
            </a:pPr>
            <a:r>
              <a:rPr lang="en-US" sz="1100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96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18" rIns="91440" bIns="45718" numCol="1" anchor="t" anchorCtr="0" compatLnSpc="1">
            <a:prstTxWarp prst="textNoShape">
              <a:avLst/>
            </a:prstTxWarp>
          </a:bodyPr>
          <a:lstStyle/>
          <a:p>
            <a:pPr defTabSz="91439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57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2" y="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0" y="1732759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2613980-450F-4C6A-972A-83414D73CDAF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72">
              <a:defRPr/>
            </a:pPr>
            <a:r>
              <a:rPr lang="en-US" sz="1100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96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18" rIns="91440" bIns="45718" numCol="1" anchor="t" anchorCtr="0" compatLnSpc="1">
            <a:prstTxWarp prst="textNoShape">
              <a:avLst/>
            </a:prstTxWarp>
          </a:bodyPr>
          <a:lstStyle/>
          <a:p>
            <a:pPr defTabSz="91439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17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3" y="-1"/>
            <a:ext cx="12184106" cy="6861544"/>
          </a:xfrm>
          <a:prstGeom prst="rect">
            <a:avLst/>
          </a:prstGeom>
        </p:spPr>
      </p:pic>
      <p:grpSp>
        <p:nvGrpSpPr>
          <p:cNvPr id="17" name="Group 219"/>
          <p:cNvGrpSpPr>
            <a:grpSpLocks noChangeAspect="1"/>
          </p:cNvGrpSpPr>
          <p:nvPr userDrawn="1"/>
        </p:nvGrpSpPr>
        <p:grpSpPr bwMode="gray">
          <a:xfrm>
            <a:off x="11106108" y="436516"/>
            <a:ext cx="587892" cy="589010"/>
            <a:chOff x="6936" y="180"/>
            <a:chExt cx="526" cy="527"/>
          </a:xfrm>
          <a:solidFill>
            <a:schemeClr val="bg1"/>
          </a:solidFill>
        </p:grpSpPr>
        <p:sp>
          <p:nvSpPr>
            <p:cNvPr id="19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30" name="Content Placeholder 14"/>
          <p:cNvSpPr>
            <a:spLocks noGrp="1"/>
          </p:cNvSpPr>
          <p:nvPr>
            <p:ph sz="quarter" idx="14"/>
          </p:nvPr>
        </p:nvSpPr>
        <p:spPr>
          <a:xfrm>
            <a:off x="484190" y="830932"/>
            <a:ext cx="4187825" cy="1397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i="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4"/>
          <p:cNvSpPr>
            <a:spLocks noGrp="1"/>
          </p:cNvSpPr>
          <p:nvPr>
            <p:ph sz="quarter" idx="15"/>
          </p:nvPr>
        </p:nvSpPr>
        <p:spPr>
          <a:xfrm>
            <a:off x="484190" y="437561"/>
            <a:ext cx="4187825" cy="393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13962" y="0"/>
            <a:ext cx="5821681" cy="6861545"/>
          </a:xfrm>
          <a:prstGeom prst="parallelogram">
            <a:avLst>
              <a:gd name="adj" fmla="val 28792"/>
            </a:avLst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826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666" y="1735137"/>
            <a:ext cx="10800000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r>
              <a:rPr lang="en-US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C58EF2-4392-4FB2-87E1-CE57C535FEB9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820" y="590935"/>
            <a:ext cx="10800000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10384F"/>
                </a:solidFill>
              </a:rPr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" y="0"/>
            <a:ext cx="12190413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14,20</a:t>
              </a:r>
            </a:p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5.59</a:t>
              </a:r>
            </a:p>
            <a:p>
              <a:pPr defTabSz="914394"/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7,45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2.93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6,45</a:t>
              </a:r>
            </a:p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2.5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0,30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0.1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1,30</a:t>
              </a:r>
            </a:p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0.51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8,06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3.1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9,06</a:t>
              </a:r>
            </a:p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3.5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15,80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6.2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4,70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1.85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defTabSz="914394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8,49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2,40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0.9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defTabSz="914394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1,40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600" dirty="0">
                  <a:solidFill>
                    <a:srgbClr val="FF316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94"/>
              <a:r>
                <a:rPr lang="de-DE" sz="600" dirty="0">
                  <a:solidFill>
                    <a:srgbClr val="FF3162"/>
                  </a:solidFill>
                </a:rPr>
                <a:t>0.31</a:t>
              </a:r>
              <a:endParaRPr lang="en-US" sz="600" dirty="0">
                <a:solidFill>
                  <a:srgbClr val="FF316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600" dirty="0">
                  <a:solidFill>
                    <a:srgbClr val="FF316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600" dirty="0">
                  <a:solidFill>
                    <a:srgbClr val="FF3162"/>
                  </a:solidFill>
                </a:rPr>
                <a:t>0.75</a:t>
              </a:r>
              <a:endParaRPr lang="en-US" sz="600" dirty="0">
                <a:solidFill>
                  <a:srgbClr val="FF316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666" y="1735137"/>
            <a:ext cx="10800000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r>
              <a:rPr lang="en-US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802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2829" y="1622430"/>
            <a:ext cx="11238605" cy="453311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dirty="0"/>
              <a:t>Text in Arial Regular 18pt</a:t>
            </a:r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4"/>
            <a:r>
              <a:rPr lang="en-US" noProof="0" dirty="0"/>
              <a:t>Fourth level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65978" y="6424615"/>
            <a:ext cx="8080487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5" indent="0">
              <a:defRPr sz="800">
                <a:solidFill>
                  <a:schemeClr val="tx1"/>
                </a:solidFill>
              </a:defRPr>
            </a:lvl3pPr>
            <a:lvl4pPr marL="3169" indent="0">
              <a:defRPr sz="800">
                <a:solidFill>
                  <a:schemeClr val="tx1"/>
                </a:solidFill>
              </a:defRPr>
            </a:lvl4pPr>
            <a:lvl5pPr marL="3169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>
                <a:solidFill>
                  <a:srgbClr val="000000"/>
                </a:solidFill>
              </a:rPr>
              <a:t>/// Bayer AG - Corporate Innovation /// October 2018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74716" y="6424615"/>
            <a:ext cx="44561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5" indent="0" algn="r">
              <a:defRPr sz="800">
                <a:solidFill>
                  <a:schemeClr val="tx1"/>
                </a:solidFill>
              </a:defRPr>
            </a:lvl2pPr>
            <a:lvl3pPr marL="0" indent="0" algn="r">
              <a:defRPr sz="800">
                <a:solidFill>
                  <a:schemeClr val="tx1"/>
                </a:solidFill>
              </a:defRPr>
            </a:lvl3pPr>
            <a:lvl4pPr marL="0" indent="0" algn="r">
              <a:defRPr sz="800">
                <a:solidFill>
                  <a:schemeClr val="tx1"/>
                </a:solidFill>
              </a:defRPr>
            </a:lvl4pPr>
            <a:lvl5pPr marL="0" indent="0" algn="r">
              <a:defRPr sz="800">
                <a:solidFill>
                  <a:schemeClr val="tx1"/>
                </a:solidFill>
              </a:defRPr>
            </a:lvl5pPr>
            <a:lvl6pPr marL="0" indent="0" algn="r">
              <a:defRPr sz="800">
                <a:solidFill>
                  <a:schemeClr val="tx1"/>
                </a:solidFill>
              </a:defRPr>
            </a:lvl6pPr>
            <a:lvl7pPr marL="0" indent="0" algn="r">
              <a:defRPr sz="800">
                <a:solidFill>
                  <a:schemeClr val="tx1"/>
                </a:solidFill>
              </a:defRPr>
            </a:lvl7pPr>
            <a:lvl8pPr marL="0" indent="0" algn="r">
              <a:defRPr sz="800">
                <a:solidFill>
                  <a:schemeClr val="tx1"/>
                </a:solidFill>
              </a:defRPr>
            </a:lvl8pPr>
            <a:lvl9pPr marL="0" indent="0" algn="r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448564" y="445199"/>
            <a:ext cx="9568784" cy="8565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684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94"/>
            <a:fld id="{BC969764-E268-448B-97C9-FEEDE381FE91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94"/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94"/>
            <a:fld id="{EEAD9179-7A6B-4268-BEB2-F3B8EB06115B}" type="slidenum">
              <a:rPr lang="en-US" smtClean="0">
                <a:solidFill>
                  <a:srgbClr val="00BCFF"/>
                </a:solidFill>
              </a:rPr>
              <a:pPr defTabSz="914394"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61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807578"/>
              </p:ext>
            </p:extLst>
          </p:nvPr>
        </p:nvGraphicFramePr>
        <p:xfrm>
          <a:off x="1664" y="166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3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64" y="166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93" y="1732423"/>
            <a:ext cx="362055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6BFBE60-ADF3-4D0C-B107-F4748628BC3C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06" y="2424948"/>
            <a:ext cx="362035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760" y="4041069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4708">
              <a:defRPr/>
            </a:pPr>
            <a:r>
              <a:rPr lang="en-US" sz="1100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75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794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3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441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746" y="704851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0942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93" y="1732423"/>
            <a:ext cx="362055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7DFFFFF-76B7-4E77-943C-C6247F971A86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06" y="2424948"/>
            <a:ext cx="362035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760" y="4041069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4708">
              <a:defRPr/>
            </a:pPr>
            <a:r>
              <a:rPr lang="en-US" sz="1100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75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794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917" y="0"/>
            <a:ext cx="811257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441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746" y="704851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307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93" y="1732423"/>
            <a:ext cx="362055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CC75934-F81F-433D-8095-C75442956297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06" y="2424948"/>
            <a:ext cx="362035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760" y="4041069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4708">
              <a:defRPr/>
            </a:pPr>
            <a:r>
              <a:rPr lang="en-US" sz="1100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75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794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919" y="0"/>
            <a:ext cx="8114954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441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746" y="704851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0075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527233"/>
              </p:ext>
            </p:extLst>
          </p:nvPr>
        </p:nvGraphicFramePr>
        <p:xfrm>
          <a:off x="1609" y="1637"/>
          <a:ext cx="1586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9" y="1637"/>
                        <a:ext cx="1586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6772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89" y="1843721"/>
            <a:ext cx="4680001" cy="4641030"/>
          </a:xfrm>
        </p:spPr>
        <p:txBody>
          <a:bodyPr/>
          <a:lstStyle>
            <a:lvl1pPr marL="269702" indent="-269702">
              <a:spcBef>
                <a:spcPts val="1794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1pPr>
            <a:lvl2pPr marL="539441" indent="-269702">
              <a:spcBef>
                <a:spcPts val="600"/>
              </a:spcBef>
              <a:spcAft>
                <a:spcPts val="0"/>
              </a:spcAft>
              <a:buFontTx/>
              <a:buBlip>
                <a:blip r:embed="rId7"/>
              </a:buBlip>
              <a:defRPr sz="2000"/>
            </a:lvl2pPr>
            <a:lvl3pPr marL="809133" indent="-269702">
              <a:spcBef>
                <a:spcPts val="600"/>
              </a:spcBef>
              <a:spcAft>
                <a:spcPts val="0"/>
              </a:spcAft>
              <a:buFontTx/>
              <a:buBlip>
                <a:blip r:embed="rId8"/>
              </a:buBlip>
              <a:defRPr sz="2000"/>
            </a:lvl3pPr>
            <a:lvl4pPr marL="1078882" indent="-269702">
              <a:spcBef>
                <a:spcPts val="600"/>
              </a:spcBef>
              <a:spcAft>
                <a:spcPts val="0"/>
              </a:spcAft>
              <a:buFontTx/>
              <a:buBlip>
                <a:blip r:embed="rId9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15C23F6-CF75-4A09-A4B5-5F47BA622748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42" y="6617933"/>
            <a:ext cx="5710665" cy="108000"/>
          </a:xfrm>
        </p:spPr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50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705" y="704851"/>
            <a:ext cx="72031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4313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51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51"/>
              <a:endParaRPr lang="de-DE" sz="17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17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1" y="31"/>
            <a:ext cx="2104575" cy="6861174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371" tIns="45644" rIns="91371" bIns="45644" numCol="1" rtlCol="0" anchor="ctr" anchorCtr="0" compatLnSpc="1">
            <a:prstTxWarp prst="textNoShape">
              <a:avLst/>
            </a:prstTxWarp>
          </a:bodyPr>
          <a:lstStyle/>
          <a:p>
            <a:pPr algn="ctr" defTabSz="913451"/>
            <a:endParaRPr lang="en-US" sz="1700" dirty="0" err="1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29210D6-8876-40F4-BD6F-45F34BFA91F9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8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2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78" y="1473980"/>
            <a:ext cx="4140001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51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51"/>
              <a:endParaRPr lang="en-US" sz="17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884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003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51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51"/>
              <a:endParaRPr lang="en-US" sz="1700">
                <a:solidFill>
                  <a:srgbClr val="000000"/>
                </a:solidFill>
              </a:endParaRPr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1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371" tIns="45644" rIns="91371" bIns="45644" numCol="1" rtlCol="0" anchor="ctr" anchorCtr="0" compatLnSpc="1">
            <a:prstTxWarp prst="textNoShape">
              <a:avLst/>
            </a:prstTxWarp>
          </a:bodyPr>
          <a:lstStyle/>
          <a:p>
            <a:pPr algn="ctr" defTabSz="913451"/>
            <a:endParaRPr lang="en-US" sz="1700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411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2F918AB-E671-47FA-8834-17A2B289A547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1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2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430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1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371" tIns="45644" rIns="91371" bIns="45644" numCol="1" rtlCol="0" anchor="ctr" anchorCtr="0" compatLnSpc="1">
            <a:prstTxWarp prst="textNoShape">
              <a:avLst/>
            </a:prstTxWarp>
          </a:bodyPr>
          <a:lstStyle/>
          <a:p>
            <a:pPr algn="ctr" defTabSz="913451"/>
            <a:endParaRPr lang="en-US" sz="1700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235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61D04D7-E440-42AB-997E-AECE82928C0D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2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</p:grp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2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54" y="1"/>
            <a:ext cx="4148850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51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51"/>
              <a:endParaRPr lang="en-US" sz="17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4770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9" y="1843721"/>
            <a:ext cx="4680000" cy="4641030"/>
          </a:xfrm>
        </p:spPr>
        <p:txBody>
          <a:bodyPr/>
          <a:lstStyle>
            <a:lvl1pPr marL="269998" indent="-269998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39996" indent="-269998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09994" indent="-269998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79992" indent="-269998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gray">
          <a:xfrm>
            <a:off x="0" y="0"/>
            <a:ext cx="974672" cy="1735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5A507B1-ADD9-41E8-B0FB-27AB91E54EF5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4" y="6617933"/>
            <a:ext cx="5710665" cy="108000"/>
          </a:xfrm>
        </p:spPr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4238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94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94"/>
              <a:endParaRPr lang="de-D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34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52" y="1138299"/>
            <a:ext cx="10798459" cy="252000"/>
          </a:xfrm>
        </p:spPr>
        <p:txBody>
          <a:bodyPr anchor="t"/>
          <a:lstStyle>
            <a:lvl1pPr marL="0" indent="0" algn="l">
              <a:buNone/>
              <a:defRPr sz="1700">
                <a:solidFill>
                  <a:schemeClr val="accent1"/>
                </a:solidFill>
              </a:defRPr>
            </a:lvl1pPr>
            <a:lvl2pPr marL="0" indent="0" algn="l">
              <a:buNone/>
              <a:defRPr sz="1700">
                <a:solidFill>
                  <a:schemeClr val="accent1"/>
                </a:solidFill>
              </a:defRPr>
            </a:lvl2pPr>
            <a:lvl3pPr marL="0" indent="0" algn="l">
              <a:buNone/>
              <a:defRPr sz="1700">
                <a:solidFill>
                  <a:schemeClr val="accent1"/>
                </a:solidFill>
              </a:defRPr>
            </a:lvl3pPr>
            <a:lvl4pPr marL="0" indent="0" algn="l">
              <a:buNone/>
              <a:defRPr sz="1700">
                <a:solidFill>
                  <a:schemeClr val="accent1"/>
                </a:solidFill>
              </a:defRPr>
            </a:lvl4pPr>
            <a:lvl5pPr marL="0" indent="0" algn="l">
              <a:buNone/>
              <a:defRPr sz="1700">
                <a:solidFill>
                  <a:schemeClr val="accent1"/>
                </a:solidFill>
              </a:defRPr>
            </a:lvl5pPr>
            <a:lvl6pPr marL="0" indent="0" algn="l">
              <a:buNone/>
              <a:defRPr sz="1700">
                <a:solidFill>
                  <a:schemeClr val="accent1"/>
                </a:solidFill>
              </a:defRPr>
            </a:lvl6pPr>
            <a:lvl7pPr marL="0" indent="0" algn="l">
              <a:buNone/>
              <a:defRPr sz="1700">
                <a:solidFill>
                  <a:schemeClr val="accent1"/>
                </a:solidFill>
              </a:defRPr>
            </a:lvl7pPr>
            <a:lvl8pPr marL="0" indent="0" algn="l">
              <a:buNone/>
              <a:defRPr sz="1700">
                <a:solidFill>
                  <a:schemeClr val="accent1"/>
                </a:solidFill>
              </a:defRPr>
            </a:lvl8pPr>
            <a:lvl9pPr marL="0" indent="0" algn="l">
              <a:buNone/>
              <a:defRPr sz="17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B351844-2DA7-447E-B04F-6E6DBE45B4A7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9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89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783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6715541"/>
              </p:ext>
            </p:extLst>
          </p:nvPr>
        </p:nvGraphicFramePr>
        <p:xfrm>
          <a:off x="1609" y="1637"/>
          <a:ext cx="1586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9" y="1637"/>
                        <a:ext cx="1586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7782" cy="252000"/>
          </a:xfrm>
        </p:spPr>
        <p:txBody>
          <a:bodyPr anchor="t"/>
          <a:lstStyle>
            <a:lvl1pPr marL="0" indent="0" algn="l">
              <a:buNone/>
              <a:defRPr sz="1700">
                <a:solidFill>
                  <a:schemeClr val="accent1"/>
                </a:solidFill>
              </a:defRPr>
            </a:lvl1pPr>
            <a:lvl2pPr marL="0" indent="0" algn="l">
              <a:buNone/>
              <a:defRPr sz="1700">
                <a:solidFill>
                  <a:schemeClr val="accent1"/>
                </a:solidFill>
              </a:defRPr>
            </a:lvl2pPr>
            <a:lvl3pPr marL="0" indent="0" algn="l">
              <a:buNone/>
              <a:defRPr sz="1700">
                <a:solidFill>
                  <a:schemeClr val="accent1"/>
                </a:solidFill>
              </a:defRPr>
            </a:lvl3pPr>
            <a:lvl4pPr marL="0" indent="0" algn="l">
              <a:buNone/>
              <a:defRPr sz="1700">
                <a:solidFill>
                  <a:schemeClr val="accent1"/>
                </a:solidFill>
              </a:defRPr>
            </a:lvl4pPr>
            <a:lvl5pPr marL="0" indent="0" algn="l">
              <a:buNone/>
              <a:defRPr sz="1700">
                <a:solidFill>
                  <a:schemeClr val="accent1"/>
                </a:solidFill>
              </a:defRPr>
            </a:lvl5pPr>
            <a:lvl6pPr marL="0" indent="0" algn="l">
              <a:buNone/>
              <a:defRPr sz="1700">
                <a:solidFill>
                  <a:schemeClr val="accent1"/>
                </a:solidFill>
              </a:defRPr>
            </a:lvl6pPr>
            <a:lvl7pPr marL="0" indent="0" algn="l">
              <a:buNone/>
              <a:defRPr sz="1700">
                <a:solidFill>
                  <a:schemeClr val="accent1"/>
                </a:solidFill>
              </a:defRPr>
            </a:lvl7pPr>
            <a:lvl8pPr marL="0" indent="0" algn="l">
              <a:buNone/>
              <a:defRPr sz="1700">
                <a:solidFill>
                  <a:schemeClr val="accent1"/>
                </a:solidFill>
              </a:defRPr>
            </a:lvl8pPr>
            <a:lvl9pPr marL="0" indent="0" algn="l">
              <a:buNone/>
              <a:defRPr sz="17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EC1BEFD-E84D-4E9E-9B8E-BF3667B0D1D0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319" y="1732827"/>
            <a:ext cx="5219999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651" y="1732827"/>
            <a:ext cx="5219999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89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825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0359" y="1138299"/>
            <a:ext cx="10799437" cy="252000"/>
          </a:xfrm>
        </p:spPr>
        <p:txBody>
          <a:bodyPr anchor="t"/>
          <a:lstStyle>
            <a:lvl1pPr marL="0" indent="0" algn="l">
              <a:buNone/>
              <a:defRPr sz="1700">
                <a:solidFill>
                  <a:schemeClr val="accent1"/>
                </a:solidFill>
              </a:defRPr>
            </a:lvl1pPr>
            <a:lvl2pPr marL="0" indent="0" algn="l">
              <a:buNone/>
              <a:defRPr sz="1700">
                <a:solidFill>
                  <a:schemeClr val="accent1"/>
                </a:solidFill>
              </a:defRPr>
            </a:lvl2pPr>
            <a:lvl3pPr marL="0" indent="0" algn="l">
              <a:buNone/>
              <a:defRPr sz="1700">
                <a:solidFill>
                  <a:schemeClr val="accent1"/>
                </a:solidFill>
              </a:defRPr>
            </a:lvl3pPr>
            <a:lvl4pPr marL="0" indent="0" algn="l">
              <a:buNone/>
              <a:defRPr sz="1700">
                <a:solidFill>
                  <a:schemeClr val="accent1"/>
                </a:solidFill>
              </a:defRPr>
            </a:lvl4pPr>
            <a:lvl5pPr marL="0" indent="0" algn="l">
              <a:buNone/>
              <a:defRPr sz="1700">
                <a:solidFill>
                  <a:schemeClr val="accent1"/>
                </a:solidFill>
              </a:defRPr>
            </a:lvl5pPr>
            <a:lvl6pPr marL="0" indent="0" algn="l">
              <a:buNone/>
              <a:defRPr sz="1700">
                <a:solidFill>
                  <a:schemeClr val="accent1"/>
                </a:solidFill>
              </a:defRPr>
            </a:lvl6pPr>
            <a:lvl7pPr marL="0" indent="0" algn="l">
              <a:buNone/>
              <a:defRPr sz="1700">
                <a:solidFill>
                  <a:schemeClr val="accent1"/>
                </a:solidFill>
              </a:defRPr>
            </a:lvl7pPr>
            <a:lvl8pPr marL="0" indent="0" algn="l">
              <a:buNone/>
              <a:defRPr sz="1700">
                <a:solidFill>
                  <a:schemeClr val="accent1"/>
                </a:solidFill>
              </a:defRPr>
            </a:lvl8pPr>
            <a:lvl9pPr marL="0" indent="0" algn="l">
              <a:buNone/>
              <a:defRPr sz="17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B6CC209-C883-4450-8BA7-F4DB351890AC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318" y="3892826"/>
            <a:ext cx="5219999" cy="259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56" y="3892826"/>
            <a:ext cx="5219999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0318" y="1732750"/>
            <a:ext cx="5219999" cy="1800000"/>
          </a:xfrm>
        </p:spPr>
        <p:txBody>
          <a:bodyPr tIns="539441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56" y="1732750"/>
            <a:ext cx="5219999" cy="1800000"/>
          </a:xfrm>
        </p:spPr>
        <p:txBody>
          <a:bodyPr tIns="539441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89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5007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945483"/>
              </p:ext>
            </p:extLst>
          </p:nvPr>
        </p:nvGraphicFramePr>
        <p:xfrm>
          <a:off x="1585" y="1614"/>
          <a:ext cx="1586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5" y="1614"/>
                        <a:ext cx="1586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52" y="1138299"/>
            <a:ext cx="10798459" cy="252000"/>
          </a:xfrm>
        </p:spPr>
        <p:txBody>
          <a:bodyPr anchor="t"/>
          <a:lstStyle>
            <a:lvl1pPr marL="0" indent="0" algn="l">
              <a:buNone/>
              <a:defRPr sz="1700">
                <a:solidFill>
                  <a:schemeClr val="accent1"/>
                </a:solidFill>
              </a:defRPr>
            </a:lvl1pPr>
            <a:lvl2pPr marL="0" indent="0" algn="l">
              <a:buNone/>
              <a:defRPr sz="1700">
                <a:solidFill>
                  <a:schemeClr val="accent1"/>
                </a:solidFill>
              </a:defRPr>
            </a:lvl2pPr>
            <a:lvl3pPr marL="0" indent="0" algn="l">
              <a:buNone/>
              <a:defRPr sz="1700">
                <a:solidFill>
                  <a:schemeClr val="accent1"/>
                </a:solidFill>
              </a:defRPr>
            </a:lvl3pPr>
            <a:lvl4pPr marL="0" indent="0" algn="l">
              <a:buNone/>
              <a:defRPr sz="1700">
                <a:solidFill>
                  <a:schemeClr val="accent1"/>
                </a:solidFill>
              </a:defRPr>
            </a:lvl4pPr>
            <a:lvl5pPr marL="0" indent="0" algn="l">
              <a:buNone/>
              <a:defRPr sz="1700">
                <a:solidFill>
                  <a:schemeClr val="accent1"/>
                </a:solidFill>
              </a:defRPr>
            </a:lvl5pPr>
            <a:lvl6pPr marL="0" indent="0" algn="l">
              <a:buNone/>
              <a:defRPr sz="1700">
                <a:solidFill>
                  <a:schemeClr val="accent1"/>
                </a:solidFill>
              </a:defRPr>
            </a:lvl6pPr>
            <a:lvl7pPr marL="0" indent="0" algn="l">
              <a:buNone/>
              <a:defRPr sz="1700">
                <a:solidFill>
                  <a:schemeClr val="accent1"/>
                </a:solidFill>
              </a:defRPr>
            </a:lvl7pPr>
            <a:lvl8pPr marL="0" indent="0" algn="l">
              <a:buNone/>
              <a:defRPr sz="1700">
                <a:solidFill>
                  <a:schemeClr val="accent1"/>
                </a:solidFill>
              </a:defRPr>
            </a:lvl8pPr>
            <a:lvl9pPr marL="0" indent="0" algn="l">
              <a:buNone/>
              <a:defRPr sz="17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52" y="181938"/>
            <a:ext cx="10798459" cy="864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56A8D50-44E3-41C8-905D-C5B320C52DAD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89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312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008972"/>
              </p:ext>
            </p:extLst>
          </p:nvPr>
        </p:nvGraphicFramePr>
        <p:xfrm>
          <a:off x="1593" y="1621"/>
          <a:ext cx="1586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621"/>
                        <a:ext cx="1586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52" y="1138299"/>
            <a:ext cx="10798459" cy="252000"/>
          </a:xfrm>
        </p:spPr>
        <p:txBody>
          <a:bodyPr anchor="t"/>
          <a:lstStyle>
            <a:lvl1pPr marL="0" indent="0" algn="l"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buNone/>
              <a:defRPr sz="1700">
                <a:solidFill>
                  <a:schemeClr val="bg1"/>
                </a:solidFill>
              </a:defRPr>
            </a:lvl2pPr>
            <a:lvl3pPr marL="0" indent="0" algn="l">
              <a:buNone/>
              <a:defRPr sz="1700">
                <a:solidFill>
                  <a:schemeClr val="bg1"/>
                </a:solidFill>
              </a:defRPr>
            </a:lvl3pPr>
            <a:lvl4pPr marL="0" indent="0" algn="l">
              <a:buNone/>
              <a:defRPr sz="1700">
                <a:solidFill>
                  <a:schemeClr val="bg1"/>
                </a:solidFill>
              </a:defRPr>
            </a:lvl4pPr>
            <a:lvl5pPr marL="0" indent="0" algn="l">
              <a:buNone/>
              <a:defRPr sz="1700">
                <a:solidFill>
                  <a:schemeClr val="bg1"/>
                </a:solidFill>
              </a:defRPr>
            </a:lvl5pPr>
            <a:lvl6pPr marL="0" indent="0" algn="l">
              <a:buNone/>
              <a:defRPr sz="1700">
                <a:solidFill>
                  <a:schemeClr val="bg1"/>
                </a:solidFill>
              </a:defRPr>
            </a:lvl6pPr>
            <a:lvl7pPr marL="0" indent="0" algn="l">
              <a:buNone/>
              <a:defRPr sz="1700">
                <a:solidFill>
                  <a:schemeClr val="bg1"/>
                </a:solidFill>
              </a:defRPr>
            </a:lvl7pPr>
            <a:lvl8pPr marL="0" indent="0" algn="l">
              <a:buNone/>
              <a:defRPr sz="1700">
                <a:solidFill>
                  <a:schemeClr val="bg1"/>
                </a:solidFill>
              </a:defRPr>
            </a:lvl8pPr>
            <a:lvl9pPr marL="0" indent="0" algn="l">
              <a:buNone/>
              <a:defRPr sz="1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7EBFA91-DFB3-4220-90EA-85EE873930CD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0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196019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4981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308907"/>
              </p:ext>
            </p:extLst>
          </p:nvPr>
        </p:nvGraphicFramePr>
        <p:xfrm>
          <a:off x="1593" y="1621"/>
          <a:ext cx="1586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621"/>
                        <a:ext cx="1586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52" y="1138299"/>
            <a:ext cx="10798459" cy="252000"/>
          </a:xfrm>
        </p:spPr>
        <p:txBody>
          <a:bodyPr anchor="t"/>
          <a:lstStyle>
            <a:lvl1pPr marL="0" indent="0" algn="l"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buNone/>
              <a:defRPr sz="1700">
                <a:solidFill>
                  <a:schemeClr val="bg1"/>
                </a:solidFill>
              </a:defRPr>
            </a:lvl2pPr>
            <a:lvl3pPr marL="0" indent="0" algn="l">
              <a:buNone/>
              <a:defRPr sz="1700">
                <a:solidFill>
                  <a:schemeClr val="bg1"/>
                </a:solidFill>
              </a:defRPr>
            </a:lvl3pPr>
            <a:lvl4pPr marL="0" indent="0" algn="l">
              <a:buNone/>
              <a:defRPr sz="1700">
                <a:solidFill>
                  <a:schemeClr val="bg1"/>
                </a:solidFill>
              </a:defRPr>
            </a:lvl4pPr>
            <a:lvl5pPr marL="0" indent="0" algn="l">
              <a:buNone/>
              <a:defRPr sz="1700">
                <a:solidFill>
                  <a:schemeClr val="bg1"/>
                </a:solidFill>
              </a:defRPr>
            </a:lvl5pPr>
            <a:lvl6pPr marL="0" indent="0" algn="l">
              <a:buNone/>
              <a:defRPr sz="1700">
                <a:solidFill>
                  <a:schemeClr val="bg1"/>
                </a:solidFill>
              </a:defRPr>
            </a:lvl6pPr>
            <a:lvl7pPr marL="0" indent="0" algn="l">
              <a:buNone/>
              <a:defRPr sz="1700">
                <a:solidFill>
                  <a:schemeClr val="bg1"/>
                </a:solidFill>
              </a:defRPr>
            </a:lvl7pPr>
            <a:lvl8pPr marL="0" indent="0" algn="l">
              <a:buNone/>
              <a:defRPr sz="1700">
                <a:solidFill>
                  <a:schemeClr val="bg1"/>
                </a:solidFill>
              </a:defRPr>
            </a:lvl8pPr>
            <a:lvl9pPr marL="0" indent="0" algn="l">
              <a:buNone/>
              <a:defRPr sz="1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08574FC-4F1C-412B-B969-E0C8636CC242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9" name="Group 219"/>
          <p:cNvGrpSpPr>
            <a:grpSpLocks noChangeAspect="1"/>
          </p:cNvGrpSpPr>
          <p:nvPr/>
        </p:nvGrpSpPr>
        <p:grpSpPr bwMode="black">
          <a:xfrm>
            <a:off x="197700" y="617322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0" name="Freeform 220"/>
            <p:cNvSpPr>
              <a:spLocks/>
            </p:cNvSpPr>
            <p:nvPr/>
          </p:nvSpPr>
          <p:spPr bwMode="black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221"/>
            <p:cNvSpPr>
              <a:spLocks/>
            </p:cNvSpPr>
            <p:nvPr/>
          </p:nvSpPr>
          <p:spPr bwMode="black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222"/>
            <p:cNvSpPr>
              <a:spLocks/>
            </p:cNvSpPr>
            <p:nvPr/>
          </p:nvSpPr>
          <p:spPr bwMode="black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3"/>
            <p:cNvSpPr>
              <a:spLocks noEditPoints="1"/>
            </p:cNvSpPr>
            <p:nvPr/>
          </p:nvSpPr>
          <p:spPr bwMode="black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4"/>
            <p:cNvSpPr>
              <a:spLocks noEditPoints="1"/>
            </p:cNvSpPr>
            <p:nvPr/>
          </p:nvSpPr>
          <p:spPr bwMode="black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5"/>
            <p:cNvSpPr>
              <a:spLocks noEditPoints="1"/>
            </p:cNvSpPr>
            <p:nvPr/>
          </p:nvSpPr>
          <p:spPr bwMode="black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6"/>
            <p:cNvSpPr>
              <a:spLocks noEditPoints="1"/>
            </p:cNvSpPr>
            <p:nvPr/>
          </p:nvSpPr>
          <p:spPr bwMode="black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7"/>
            <p:cNvSpPr>
              <a:spLocks noEditPoints="1"/>
            </p:cNvSpPr>
            <p:nvPr/>
          </p:nvSpPr>
          <p:spPr bwMode="black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8"/>
            <p:cNvSpPr>
              <a:spLocks noEditPoints="1"/>
            </p:cNvSpPr>
            <p:nvPr/>
          </p:nvSpPr>
          <p:spPr bwMode="black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9"/>
            <p:cNvSpPr>
              <a:spLocks noEditPoints="1"/>
            </p:cNvSpPr>
            <p:nvPr/>
          </p:nvSpPr>
          <p:spPr bwMode="black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4708"/>
              <a:endParaRPr lang="en-US" sz="17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9067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9" y="551659"/>
            <a:ext cx="10800000" cy="5933094"/>
          </a:xfrm>
        </p:spPr>
        <p:txBody>
          <a:bodyPr anchor="ctr"/>
          <a:lstStyle>
            <a:lvl1pPr marL="0" indent="0" algn="l">
              <a:buNone/>
              <a:defRPr sz="6500">
                <a:solidFill>
                  <a:schemeClr val="tx2"/>
                </a:solidFill>
              </a:defRPr>
            </a:lvl1pPr>
            <a:lvl2pPr marL="0" indent="0" algn="l">
              <a:buNone/>
              <a:defRPr sz="6500">
                <a:solidFill>
                  <a:schemeClr val="tx2"/>
                </a:solidFill>
              </a:defRPr>
            </a:lvl2pPr>
            <a:lvl3pPr marL="0" indent="0" algn="l">
              <a:buNone/>
              <a:defRPr sz="6500">
                <a:solidFill>
                  <a:schemeClr val="tx2"/>
                </a:solidFill>
              </a:defRPr>
            </a:lvl3pPr>
            <a:lvl4pPr marL="0" indent="0" algn="l">
              <a:buNone/>
              <a:defRPr sz="6500">
                <a:solidFill>
                  <a:schemeClr val="tx2"/>
                </a:solidFill>
              </a:defRPr>
            </a:lvl4pPr>
            <a:lvl5pPr marL="0" indent="0" algn="l">
              <a:buNone/>
              <a:defRPr sz="6500">
                <a:solidFill>
                  <a:schemeClr val="tx2"/>
                </a:solidFill>
              </a:defRPr>
            </a:lvl5pPr>
            <a:lvl6pPr marL="0" indent="0" algn="l">
              <a:buNone/>
              <a:defRPr sz="6500">
                <a:solidFill>
                  <a:schemeClr val="tx2"/>
                </a:solidFill>
              </a:defRPr>
            </a:lvl6pPr>
            <a:lvl7pPr marL="0" indent="0" algn="l">
              <a:buNone/>
              <a:defRPr sz="6500">
                <a:solidFill>
                  <a:schemeClr val="tx2"/>
                </a:solidFill>
              </a:defRPr>
            </a:lvl7pPr>
            <a:lvl8pPr marL="0" indent="0" algn="l">
              <a:buNone/>
              <a:defRPr sz="6500">
                <a:solidFill>
                  <a:schemeClr val="tx2"/>
                </a:solidFill>
              </a:defRPr>
            </a:lvl8pPr>
            <a:lvl9pPr marL="0" indent="0" algn="l">
              <a:buNone/>
              <a:defRPr sz="65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CFE25-77C9-426F-AFA3-14742CCA0E85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89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927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029410"/>
              </p:ext>
            </p:extLst>
          </p:nvPr>
        </p:nvGraphicFramePr>
        <p:xfrm>
          <a:off x="1664" y="166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83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64" y="166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B001876-C6CE-4763-9C55-19F16DC72009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70" y="0"/>
            <a:ext cx="12190413" cy="6858000"/>
          </a:xfrm>
        </p:spPr>
        <p:txBody>
          <a:bodyPr tIns="539441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198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40" y="44"/>
            <a:ext cx="8198128" cy="6877051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1" tIns="45644" rIns="91371" bIns="45644" rtlCol="0" anchor="ctr"/>
          <a:lstStyle/>
          <a:p>
            <a:pPr algn="ctr" defTabSz="913451"/>
            <a:endParaRPr lang="en-GB" sz="17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5" y="1732423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BD7A063-D11F-49FE-AF59-2EB9BAC3B591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5" y="2424948"/>
            <a:ext cx="5381498" cy="1620000"/>
          </a:xfrm>
        </p:spPr>
        <p:txBody>
          <a:bodyPr anchor="t"/>
          <a:lstStyle>
            <a:lvl1pPr>
              <a:defRPr sz="53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760" y="4041069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4708">
              <a:defRPr/>
            </a:pPr>
            <a:r>
              <a:rPr lang="en-US" sz="1100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404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794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441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746" y="704851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41" y="44"/>
            <a:ext cx="2938864" cy="6877051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371" tIns="45644" rIns="91371" bIns="45644" numCol="1" anchor="t" anchorCtr="0" compatLnSpc="1">
            <a:prstTxWarp prst="textNoShape">
              <a:avLst/>
            </a:prstTxWarp>
          </a:bodyPr>
          <a:lstStyle/>
          <a:p>
            <a:pPr defTabSz="913451"/>
            <a:endParaRPr lang="en-US" sz="17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35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40" y="44"/>
            <a:ext cx="8198128" cy="6877051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1" tIns="45644" rIns="91371" bIns="45644" rtlCol="0" anchor="ctr"/>
          <a:lstStyle/>
          <a:p>
            <a:pPr algn="ctr" defTabSz="913451"/>
            <a:endParaRPr lang="en-GB" sz="17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8" y="1732834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68F2EFD-BE01-4A6D-9682-2E929797F54D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7" y="2424948"/>
            <a:ext cx="5381498" cy="1620000"/>
          </a:xfrm>
        </p:spPr>
        <p:txBody>
          <a:bodyPr anchor="t"/>
          <a:lstStyle>
            <a:lvl1pPr>
              <a:defRPr sz="53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760" y="4041069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4708">
              <a:defRPr/>
            </a:pPr>
            <a:r>
              <a:rPr lang="en-US" sz="1100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404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794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441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746" y="704851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41" y="44"/>
            <a:ext cx="2938864" cy="6877051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371" tIns="45644" rIns="91371" bIns="45644" numCol="1" anchor="t" anchorCtr="0" compatLnSpc="1">
            <a:prstTxWarp prst="textNoShape">
              <a:avLst/>
            </a:prstTxWarp>
          </a:bodyPr>
          <a:lstStyle/>
          <a:p>
            <a:pPr defTabSz="913451"/>
            <a:endParaRPr lang="en-US" sz="17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72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" y="-1"/>
            <a:ext cx="12184110" cy="686154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D60F5D0-3ECB-40C3-9134-852B57006AEA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22" name="Title 1"/>
          <p:cNvSpPr>
            <a:spLocks noGrp="1"/>
          </p:cNvSpPr>
          <p:nvPr>
            <p:ph type="title"/>
          </p:nvPr>
        </p:nvSpPr>
        <p:spPr bwMode="black">
          <a:xfrm>
            <a:off x="1649413" y="2678882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03" y="1735138"/>
            <a:ext cx="6197650" cy="693737"/>
          </a:xfrm>
        </p:spPr>
        <p:txBody>
          <a:bodyPr/>
          <a:lstStyle>
            <a:lvl2pPr marL="0" indent="0">
              <a:buNone/>
              <a:defRPr sz="4000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//////// Insert text</a:t>
            </a:r>
          </a:p>
        </p:txBody>
      </p:sp>
    </p:spTree>
    <p:extLst>
      <p:ext uri="{BB962C8B-B14F-4D97-AF65-F5344CB8AC3E}">
        <p14:creationId xmlns:p14="http://schemas.microsoft.com/office/powerpoint/2010/main" val="639555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40" y="44"/>
            <a:ext cx="8198128" cy="6877051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1" tIns="45644" rIns="91371" bIns="45644" rtlCol="0" anchor="ctr"/>
          <a:lstStyle/>
          <a:p>
            <a:pPr algn="ctr" defTabSz="913451"/>
            <a:endParaRPr lang="en-GB" sz="17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6" y="1732834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DA61DD-A874-4951-86B0-E89F425655B0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7" y="2424948"/>
            <a:ext cx="5381498" cy="1620000"/>
          </a:xfrm>
        </p:spPr>
        <p:txBody>
          <a:bodyPr anchor="t"/>
          <a:lstStyle>
            <a:lvl1pPr>
              <a:defRPr sz="53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760" y="4041069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4708">
              <a:defRPr/>
            </a:pPr>
            <a:r>
              <a:rPr lang="en-US" sz="1100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404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794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441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746" y="704851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41" y="44"/>
            <a:ext cx="2938864" cy="6877051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371" tIns="45644" rIns="91371" bIns="45644" numCol="1" anchor="t" anchorCtr="0" compatLnSpc="1">
            <a:prstTxWarp prst="textNoShape">
              <a:avLst/>
            </a:prstTxWarp>
          </a:bodyPr>
          <a:lstStyle/>
          <a:p>
            <a:pPr defTabSz="913451"/>
            <a:endParaRPr lang="en-US" sz="17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25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740" y="1735137"/>
            <a:ext cx="10800000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1" tIns="45644" rIns="91371" bIns="45644" rtlCol="0" anchor="ctr"/>
          <a:lstStyle/>
          <a:p>
            <a:pPr algn="ctr" defTabSz="913451"/>
            <a:r>
              <a:rPr lang="en-US" sz="1700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456D9B2-36E4-493E-A34D-567D62681BDE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827" y="590964"/>
            <a:ext cx="10800000" cy="4550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10384F"/>
                </a:solidFill>
              </a:rPr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70" y="30"/>
            <a:ext cx="12190413" cy="6858001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3451"/>
              <a:r>
                <a:rPr lang="de-DE" sz="800" dirty="0">
                  <a:solidFill>
                    <a:srgbClr val="D30F4B"/>
                  </a:solidFill>
                </a:rPr>
                <a:t>14,20</a:t>
              </a:r>
            </a:p>
            <a:p>
              <a:pPr defTabSz="913451"/>
              <a:r>
                <a:rPr lang="de-DE" sz="800" dirty="0">
                  <a:solidFill>
                    <a:srgbClr val="D30F4B"/>
                  </a:solidFill>
                </a:rPr>
                <a:t>5.59</a:t>
              </a:r>
            </a:p>
            <a:p>
              <a:pPr defTabSz="913451"/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7,45</a:t>
              </a:r>
            </a:p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2.93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3451"/>
              <a:r>
                <a:rPr lang="de-DE" sz="800" dirty="0">
                  <a:solidFill>
                    <a:srgbClr val="D30F4B"/>
                  </a:solidFill>
                </a:rPr>
                <a:t>6,45</a:t>
              </a:r>
            </a:p>
            <a:p>
              <a:pPr defTabSz="913451"/>
              <a:r>
                <a:rPr lang="de-DE" sz="800" dirty="0">
                  <a:solidFill>
                    <a:srgbClr val="D30F4B"/>
                  </a:solidFill>
                </a:rPr>
                <a:t>2.5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0,30</a:t>
              </a:r>
            </a:p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0.1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3451"/>
              <a:r>
                <a:rPr lang="de-DE" sz="800" dirty="0">
                  <a:solidFill>
                    <a:srgbClr val="D30F4B"/>
                  </a:solidFill>
                </a:rPr>
                <a:t>1,30</a:t>
              </a:r>
            </a:p>
            <a:p>
              <a:pPr defTabSz="913451"/>
              <a:r>
                <a:rPr lang="de-DE" sz="800" dirty="0">
                  <a:solidFill>
                    <a:srgbClr val="D30F4B"/>
                  </a:solidFill>
                </a:rPr>
                <a:t>0.51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8,06</a:t>
              </a:r>
            </a:p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3.1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3451"/>
              <a:r>
                <a:rPr lang="de-DE" sz="800" dirty="0">
                  <a:solidFill>
                    <a:srgbClr val="D30F4B"/>
                  </a:solidFill>
                </a:rPr>
                <a:t>9,06</a:t>
              </a:r>
            </a:p>
            <a:p>
              <a:pPr defTabSz="913451"/>
              <a:r>
                <a:rPr lang="de-DE" sz="800" dirty="0">
                  <a:solidFill>
                    <a:srgbClr val="D30F4B"/>
                  </a:solidFill>
                </a:rPr>
                <a:t>3.5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15,80</a:t>
              </a:r>
            </a:p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6.2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4,70</a:t>
              </a:r>
            </a:p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1.85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defTabSz="913451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8,49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2,40</a:t>
              </a:r>
            </a:p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0.9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defTabSz="913451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1,40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 defTabSz="913451"/>
              <a:r>
                <a:rPr lang="de-DE" sz="800" dirty="0">
                  <a:solidFill>
                    <a:srgbClr val="D30F4B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3451"/>
              <a:r>
                <a:rPr lang="de-DE" sz="500" dirty="0">
                  <a:solidFill>
                    <a:srgbClr val="FF316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3451"/>
              <a:r>
                <a:rPr lang="de-DE" sz="500" dirty="0">
                  <a:solidFill>
                    <a:srgbClr val="FF3162"/>
                  </a:solidFill>
                </a:rPr>
                <a:t>0.31</a:t>
              </a:r>
              <a:endParaRPr lang="en-US" sz="500" dirty="0">
                <a:solidFill>
                  <a:srgbClr val="FF316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3451"/>
              <a:r>
                <a:rPr lang="de-DE" sz="500" dirty="0">
                  <a:solidFill>
                    <a:srgbClr val="FF316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3451"/>
              <a:r>
                <a:rPr lang="de-DE" sz="500" dirty="0">
                  <a:solidFill>
                    <a:srgbClr val="FF3162"/>
                  </a:solidFill>
                </a:rPr>
                <a:t>0.75</a:t>
              </a:r>
              <a:endParaRPr lang="en-US" sz="500" dirty="0">
                <a:solidFill>
                  <a:srgbClr val="FF316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740" y="1735137"/>
            <a:ext cx="10800000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1" tIns="45644" rIns="91371" bIns="45644" rtlCol="0" anchor="ctr"/>
          <a:lstStyle/>
          <a:p>
            <a:pPr algn="ctr" defTabSz="913451"/>
            <a:r>
              <a:rPr lang="en-US" sz="1700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89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1513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74716" y="6424615"/>
            <a:ext cx="44561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5" indent="0" algn="r">
              <a:defRPr sz="800">
                <a:solidFill>
                  <a:schemeClr val="tx1"/>
                </a:solidFill>
              </a:defRPr>
            </a:lvl2pPr>
            <a:lvl3pPr marL="0" indent="0" algn="r">
              <a:defRPr sz="800">
                <a:solidFill>
                  <a:schemeClr val="tx1"/>
                </a:solidFill>
              </a:defRPr>
            </a:lvl3pPr>
            <a:lvl4pPr marL="0" indent="0" algn="r">
              <a:defRPr sz="800">
                <a:solidFill>
                  <a:schemeClr val="tx1"/>
                </a:solidFill>
              </a:defRPr>
            </a:lvl4pPr>
            <a:lvl5pPr marL="0" indent="0" algn="r">
              <a:defRPr sz="800">
                <a:solidFill>
                  <a:schemeClr val="tx1"/>
                </a:solidFill>
              </a:defRPr>
            </a:lvl5pPr>
            <a:lvl6pPr marL="0" indent="0" algn="r">
              <a:defRPr sz="800">
                <a:solidFill>
                  <a:schemeClr val="tx1"/>
                </a:solidFill>
              </a:defRPr>
            </a:lvl6pPr>
            <a:lvl7pPr marL="0" indent="0" algn="r">
              <a:defRPr sz="800">
                <a:solidFill>
                  <a:schemeClr val="tx1"/>
                </a:solidFill>
              </a:defRPr>
            </a:lvl7pPr>
            <a:lvl8pPr marL="0" indent="0" algn="r">
              <a:defRPr sz="800">
                <a:solidFill>
                  <a:schemeClr val="tx1"/>
                </a:solidFill>
              </a:defRPr>
            </a:lvl8pPr>
            <a:lvl9pPr marL="0" indent="0" algn="r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4D4D4D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4D4D4D"/>
                </a:solidFill>
              </a:rPr>
              <a:pPr/>
              <a:t>‹Nº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448564" y="445199"/>
            <a:ext cx="10028401" cy="8565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65980" y="6424615"/>
            <a:ext cx="8080487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5" indent="0">
              <a:defRPr sz="800">
                <a:solidFill>
                  <a:schemeClr val="tx1"/>
                </a:solidFill>
              </a:defRPr>
            </a:lvl3pPr>
            <a:lvl4pPr marL="3169" indent="0">
              <a:defRPr sz="800">
                <a:solidFill>
                  <a:schemeClr val="tx1"/>
                </a:solidFill>
              </a:defRPr>
            </a:lvl4pPr>
            <a:lvl5pPr marL="3169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>
                <a:solidFill>
                  <a:srgbClr val="4D4D4D"/>
                </a:solidFill>
              </a:rPr>
              <a:t>/// Bayer AG - Corporate Innovation /// October 2018</a:t>
            </a:r>
            <a:endParaRPr lang="en-US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72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62827" y="1622428"/>
            <a:ext cx="3875382" cy="1151168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 b="1">
                <a:solidFill>
                  <a:schemeClr val="bg1"/>
                </a:solidFill>
              </a:defRPr>
            </a:lvl2pPr>
            <a:lvl3pPr marL="269279" indent="0">
              <a:buNone/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74716" y="6424615"/>
            <a:ext cx="44561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5" indent="0" algn="r">
              <a:defRPr sz="800">
                <a:solidFill>
                  <a:schemeClr val="tx1"/>
                </a:solidFill>
              </a:defRPr>
            </a:lvl2pPr>
            <a:lvl3pPr marL="0" indent="0" algn="r">
              <a:defRPr sz="800">
                <a:solidFill>
                  <a:schemeClr val="tx1"/>
                </a:solidFill>
              </a:defRPr>
            </a:lvl3pPr>
            <a:lvl4pPr marL="0" indent="0" algn="r">
              <a:defRPr sz="800">
                <a:solidFill>
                  <a:schemeClr val="tx1"/>
                </a:solidFill>
              </a:defRPr>
            </a:lvl4pPr>
            <a:lvl5pPr marL="0" indent="0" algn="r">
              <a:defRPr sz="800">
                <a:solidFill>
                  <a:schemeClr val="tx1"/>
                </a:solidFill>
              </a:defRPr>
            </a:lvl5pPr>
            <a:lvl6pPr marL="0" indent="0" algn="r">
              <a:defRPr sz="800">
                <a:solidFill>
                  <a:schemeClr val="tx1"/>
                </a:solidFill>
              </a:defRPr>
            </a:lvl6pPr>
            <a:lvl7pPr marL="0" indent="0" algn="r">
              <a:defRPr sz="800">
                <a:solidFill>
                  <a:schemeClr val="tx1"/>
                </a:solidFill>
              </a:defRPr>
            </a:lvl7pPr>
            <a:lvl8pPr marL="0" indent="0" algn="r">
              <a:defRPr sz="800">
                <a:solidFill>
                  <a:schemeClr val="tx1"/>
                </a:solidFill>
              </a:defRPr>
            </a:lvl8pPr>
            <a:lvl9pPr marL="0" indent="0" algn="r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4D4D4D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4D4D4D"/>
                </a:solidFill>
              </a:rPr>
              <a:pPr/>
              <a:t>‹Nº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448564" y="445199"/>
            <a:ext cx="10028401" cy="8565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65980" y="6424615"/>
            <a:ext cx="8080487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5" indent="0">
              <a:defRPr sz="800">
                <a:solidFill>
                  <a:schemeClr val="tx1"/>
                </a:solidFill>
              </a:defRPr>
            </a:lvl3pPr>
            <a:lvl4pPr marL="3169" indent="0">
              <a:defRPr sz="800">
                <a:solidFill>
                  <a:schemeClr val="tx1"/>
                </a:solidFill>
              </a:defRPr>
            </a:lvl4pPr>
            <a:lvl5pPr marL="3169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>
                <a:solidFill>
                  <a:srgbClr val="4D4D4D"/>
                </a:solidFill>
              </a:rPr>
              <a:t>/// Bayer AG - Corporate Innovation /// October 2018</a:t>
            </a:r>
            <a:endParaRPr lang="en-US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280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5A6AC1-2D25-4A24-BB75-66401DA63F3F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72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10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330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36CD352-1DE9-404B-BC45-99CEB3DB91B1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72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10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53" y="0"/>
            <a:ext cx="811257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043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A6EA98D-DAC1-43F1-990B-046FAC2690F6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72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10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54" y="0"/>
            <a:ext cx="8114954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4497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49" y="1843721"/>
            <a:ext cx="4680000" cy="4641030"/>
          </a:xfrm>
        </p:spPr>
        <p:txBody>
          <a:bodyPr/>
          <a:lstStyle>
            <a:lvl1pPr marL="269988" indent="-269988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39976" indent="-269988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09964" indent="-269988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79952" indent="-269988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7F4468-7CFE-4AA7-A923-5B0B2A18E3AA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84" y="6617933"/>
            <a:ext cx="5710665" cy="108000"/>
          </a:xfrm>
        </p:spPr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4248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de-D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74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08" rIns="91440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364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6F57DC8-9941-45FD-A28A-8DF55CC9CF95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14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8365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38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08" rIns="91440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364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45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96C932F-84BD-465C-A21E-D882E8C76A82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252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" y="-1"/>
            <a:ext cx="12184110" cy="686154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D5DA7D9-AC06-4EA5-8F20-15A52FF3E982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39" name="Title 1"/>
          <p:cNvSpPr>
            <a:spLocks noGrp="1"/>
          </p:cNvSpPr>
          <p:nvPr>
            <p:ph type="title"/>
          </p:nvPr>
        </p:nvSpPr>
        <p:spPr bwMode="black">
          <a:xfrm>
            <a:off x="1649413" y="2678882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03" y="1735138"/>
            <a:ext cx="6197650" cy="693737"/>
          </a:xfrm>
        </p:spPr>
        <p:txBody>
          <a:bodyPr/>
          <a:lstStyle>
            <a:lvl2pPr marL="0" indent="0">
              <a:buNone/>
              <a:defRPr sz="4000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//////// Insert text</a:t>
            </a:r>
          </a:p>
        </p:txBody>
      </p:sp>
    </p:spTree>
    <p:extLst>
      <p:ext uri="{BB962C8B-B14F-4D97-AF65-F5344CB8AC3E}">
        <p14:creationId xmlns:p14="http://schemas.microsoft.com/office/powerpoint/2010/main" val="70952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08" rIns="91440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364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70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2A280C-6BCE-4E17-A893-7B37EB3D4626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20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756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6E4CA36-A166-4553-A80E-A7868082E919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9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3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987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2" y="1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08" rIns="91440" bIns="45708" rtlCol="0" anchor="ctr"/>
          <a:lstStyle/>
          <a:p>
            <a:pPr algn="ctr" defTabSz="91436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58F115A-1ED6-453E-9A0C-921F1E420C31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1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08" rIns="91440" bIns="45708" numCol="1" anchor="t" anchorCtr="0" compatLnSpc="1">
            <a:prstTxWarp prst="textNoShape">
              <a:avLst/>
            </a:prstTxWarp>
          </a:bodyPr>
          <a:lstStyle/>
          <a:p>
            <a:pPr defTabSz="91436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249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2" y="1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08" rIns="91440" bIns="45708" rtlCol="0" anchor="ctr"/>
          <a:lstStyle/>
          <a:p>
            <a:pPr algn="ctr" defTabSz="91436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1" y="1732769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0A8B598-1816-455E-BF1D-1BFB836E6041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1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08" rIns="91440" bIns="45708" numCol="1" anchor="t" anchorCtr="0" compatLnSpc="1">
            <a:prstTxWarp prst="textNoShape">
              <a:avLst/>
            </a:prstTxWarp>
          </a:bodyPr>
          <a:lstStyle/>
          <a:p>
            <a:pPr defTabSz="91436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3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2" y="1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08" rIns="91440" bIns="45708" rtlCol="0" anchor="ctr"/>
          <a:lstStyle/>
          <a:p>
            <a:pPr algn="ctr" defTabSz="91436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0" y="1732769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75FA8-F8C2-45A1-BD9E-415DB8CA1163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1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08" rIns="91440" bIns="45708" numCol="1" anchor="t" anchorCtr="0" compatLnSpc="1">
            <a:prstTxWarp prst="textNoShape">
              <a:avLst/>
            </a:prstTxWarp>
          </a:bodyPr>
          <a:lstStyle/>
          <a:p>
            <a:pPr defTabSz="91436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78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676" y="1735137"/>
            <a:ext cx="10800000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08" rIns="91440" bIns="45708" rtlCol="0" anchor="ctr"/>
          <a:lstStyle/>
          <a:p>
            <a:pPr algn="ctr" defTabSz="914364"/>
            <a:r>
              <a:rPr lang="en-US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CEF8BDA-F2EF-4F57-AF20-1A5A375D4293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820" y="590935"/>
            <a:ext cx="10800000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10384F"/>
                </a:solidFill>
              </a:rPr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2" y="0"/>
            <a:ext cx="12190413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14,20</a:t>
              </a:r>
            </a:p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5.59</a:t>
              </a:r>
            </a:p>
            <a:p>
              <a:pPr defTabSz="914364"/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7,45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2.93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6,45</a:t>
              </a:r>
            </a:p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2.5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0,30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0.1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1,30</a:t>
              </a:r>
            </a:p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0.51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8,06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3.1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9,06</a:t>
              </a:r>
            </a:p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3.5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15,80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6.2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4,70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1.85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defTabSz="914364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8,49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2,40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0.9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defTabSz="914364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1,40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600" dirty="0">
                  <a:solidFill>
                    <a:srgbClr val="FF316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64"/>
              <a:r>
                <a:rPr lang="de-DE" sz="600" dirty="0">
                  <a:solidFill>
                    <a:srgbClr val="FF3162"/>
                  </a:solidFill>
                </a:rPr>
                <a:t>0.31</a:t>
              </a:r>
              <a:endParaRPr lang="en-US" sz="600" dirty="0">
                <a:solidFill>
                  <a:srgbClr val="FF316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600" dirty="0">
                  <a:solidFill>
                    <a:srgbClr val="FF316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600" dirty="0">
                  <a:solidFill>
                    <a:srgbClr val="FF3162"/>
                  </a:solidFill>
                </a:rPr>
                <a:t>0.75</a:t>
              </a:r>
              <a:endParaRPr lang="en-US" sz="600" dirty="0">
                <a:solidFill>
                  <a:srgbClr val="FF316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676" y="1735137"/>
            <a:ext cx="10800000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08" rIns="91440" bIns="45708" rtlCol="0" anchor="ctr"/>
          <a:lstStyle/>
          <a:p>
            <a:pPr algn="ctr" defTabSz="914364"/>
            <a:r>
              <a:rPr lang="en-US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3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92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030118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9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7A690-26B2-4DF4-927F-8433258E0B28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1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7222729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9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7FD8EC9-808D-49DA-A006-E3CB5F0EE6F3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90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CD34835-D84E-4B63-AFA9-0111BD23E878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525059" y="1731962"/>
            <a:ext cx="8076766" cy="4745037"/>
          </a:xfrm>
          <a:prstGeom prst="parallelogram">
            <a:avLst>
              <a:gd name="adj" fmla="val 42155"/>
            </a:avLst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2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0641135-5985-4BF3-94D1-400B6C6E25ED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/>
          </p:nvPr>
        </p:nvSpPr>
        <p:spPr>
          <a:xfrm>
            <a:off x="6002818" y="2390775"/>
            <a:ext cx="1122363" cy="1235192"/>
          </a:xfrm>
          <a:prstGeom prst="parallelogram">
            <a:avLst>
              <a:gd name="adj" fmla="val 20839"/>
            </a:avLst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181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" y="-1"/>
            <a:ext cx="12184110" cy="686154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8A79DB4-8315-4898-90C2-F1C0A11B5169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56" name="Title 1"/>
          <p:cNvSpPr>
            <a:spLocks noGrp="1"/>
          </p:cNvSpPr>
          <p:nvPr>
            <p:ph type="title"/>
          </p:nvPr>
        </p:nvSpPr>
        <p:spPr bwMode="black">
          <a:xfrm>
            <a:off x="1649413" y="2678882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03" y="1735138"/>
            <a:ext cx="6197650" cy="693737"/>
          </a:xfrm>
        </p:spPr>
        <p:txBody>
          <a:bodyPr/>
          <a:lstStyle>
            <a:lvl2pPr marL="0" indent="0">
              <a:buNone/>
              <a:defRPr sz="4000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//////// Insert text</a:t>
            </a:r>
          </a:p>
        </p:txBody>
      </p:sp>
    </p:spTree>
    <p:extLst>
      <p:ext uri="{BB962C8B-B14F-4D97-AF65-F5344CB8AC3E}">
        <p14:creationId xmlns:p14="http://schemas.microsoft.com/office/powerpoint/2010/main" val="150970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D587C17-BCD8-4851-BAD5-07B58CC5A004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525059" y="1731962"/>
            <a:ext cx="8076766" cy="4745037"/>
          </a:xfrm>
          <a:prstGeom prst="parallelogram">
            <a:avLst>
              <a:gd name="adj" fmla="val 42155"/>
            </a:avLst>
          </a:prstGeom>
        </p:spPr>
        <p:txBody>
          <a:bodyPr/>
          <a:lstStyle/>
          <a:p>
            <a:endParaRPr lang="de-DE"/>
          </a:p>
        </p:txBody>
      </p:sp>
      <p:sp>
        <p:nvSpPr>
          <p:cNvPr id="14" name="Bildplatzhalter 11"/>
          <p:cNvSpPr>
            <a:spLocks noGrp="1"/>
          </p:cNvSpPr>
          <p:nvPr>
            <p:ph type="pic" sz="quarter" idx="17"/>
          </p:nvPr>
        </p:nvSpPr>
        <p:spPr>
          <a:xfrm>
            <a:off x="2489738" y="2969897"/>
            <a:ext cx="3062842" cy="2302889"/>
          </a:xfrm>
          <a:prstGeom prst="parallelogram">
            <a:avLst>
              <a:gd name="adj" fmla="val 48244"/>
            </a:avLst>
          </a:prstGeom>
        </p:spPr>
        <p:txBody>
          <a:bodyPr/>
          <a:lstStyle/>
          <a:p>
            <a:endParaRPr lang="de-DE"/>
          </a:p>
        </p:txBody>
      </p:sp>
      <p:sp>
        <p:nvSpPr>
          <p:cNvPr id="15" name="Bildplatzhalter 11"/>
          <p:cNvSpPr>
            <a:spLocks noGrp="1"/>
          </p:cNvSpPr>
          <p:nvPr>
            <p:ph type="pic" sz="quarter" idx="16"/>
          </p:nvPr>
        </p:nvSpPr>
        <p:spPr>
          <a:xfrm>
            <a:off x="4655046" y="2461366"/>
            <a:ext cx="3062842" cy="2302889"/>
          </a:xfrm>
          <a:prstGeom prst="parallelogram">
            <a:avLst>
              <a:gd name="adj" fmla="val 48562"/>
            </a:avLst>
          </a:prstGeom>
        </p:spPr>
        <p:txBody>
          <a:bodyPr/>
          <a:lstStyle/>
          <a:p>
            <a:endParaRPr lang="de-DE"/>
          </a:p>
        </p:txBody>
      </p:sp>
      <p:sp>
        <p:nvSpPr>
          <p:cNvPr id="16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803907" y="2461366"/>
            <a:ext cx="3062842" cy="2302889"/>
          </a:xfrm>
          <a:prstGeom prst="parallelogram">
            <a:avLst>
              <a:gd name="adj" fmla="val 48562"/>
            </a:avLst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373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7762ED5-878D-4458-A22F-B84025142A6D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06575" y="4805043"/>
            <a:ext cx="3984672" cy="1446027"/>
          </a:xfrm>
          <a:prstGeom prst="parallelogram">
            <a:avLst>
              <a:gd name="adj" fmla="val 39706"/>
            </a:avLst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106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049D25E-5447-4B39-AD13-BFADBA20710E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21" name="Bildplatzhalter 16"/>
          <p:cNvSpPr>
            <a:spLocks noGrp="1"/>
          </p:cNvSpPr>
          <p:nvPr>
            <p:ph type="pic" sz="quarter" idx="16"/>
          </p:nvPr>
        </p:nvSpPr>
        <p:spPr bwMode="gray">
          <a:xfrm>
            <a:off x="7313038" y="2091636"/>
            <a:ext cx="2789612" cy="2383737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10673 w 12673"/>
              <a:gd name="connsiteY3" fmla="*/ 10000 h 22235"/>
              <a:gd name="connsiteX4" fmla="*/ 0 w 12673"/>
              <a:gd name="connsiteY4" fmla="*/ 22235 h 22235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8111 w 12673"/>
              <a:gd name="connsiteY3" fmla="*/ 22104 h 22235"/>
              <a:gd name="connsiteX4" fmla="*/ 0 w 1267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11 w 12593"/>
              <a:gd name="connsiteY3" fmla="*/ 22104 h 22235"/>
              <a:gd name="connsiteX4" fmla="*/ 0 w 1259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22 w 12593"/>
              <a:gd name="connsiteY3" fmla="*/ 22126 h 22235"/>
              <a:gd name="connsiteX4" fmla="*/ 0 w 12593"/>
              <a:gd name="connsiteY4" fmla="*/ 22235 h 22235"/>
              <a:gd name="connsiteX0" fmla="*/ 0 w 12572"/>
              <a:gd name="connsiteY0" fmla="*/ 22147 h 22147"/>
              <a:gd name="connsiteX1" fmla="*/ 4652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  <a:gd name="connsiteX0" fmla="*/ 0 w 12572"/>
              <a:gd name="connsiteY0" fmla="*/ 22147 h 22147"/>
              <a:gd name="connsiteX1" fmla="*/ 4609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72" h="22147">
                <a:moveTo>
                  <a:pt x="0" y="22147"/>
                </a:moveTo>
                <a:lnTo>
                  <a:pt x="4609" y="0"/>
                </a:lnTo>
                <a:lnTo>
                  <a:pt x="12572" y="55"/>
                </a:lnTo>
                <a:lnTo>
                  <a:pt x="8101" y="22126"/>
                </a:lnTo>
                <a:lnTo>
                  <a:pt x="0" y="22147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 sz="1100"/>
            </a:lvl1pPr>
          </a:lstStyle>
          <a:p>
            <a:endParaRPr lang="de-DE" dirty="0"/>
          </a:p>
        </p:txBody>
      </p:sp>
      <p:sp>
        <p:nvSpPr>
          <p:cNvPr id="22" name="Bildplatzhalter 16"/>
          <p:cNvSpPr>
            <a:spLocks noGrp="1"/>
          </p:cNvSpPr>
          <p:nvPr>
            <p:ph type="pic" sz="quarter" idx="17"/>
          </p:nvPr>
        </p:nvSpPr>
        <p:spPr bwMode="gray">
          <a:xfrm>
            <a:off x="8929522" y="2516368"/>
            <a:ext cx="2789612" cy="2383737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10673 w 12673"/>
              <a:gd name="connsiteY3" fmla="*/ 10000 h 22235"/>
              <a:gd name="connsiteX4" fmla="*/ 0 w 12673"/>
              <a:gd name="connsiteY4" fmla="*/ 22235 h 22235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8111 w 12673"/>
              <a:gd name="connsiteY3" fmla="*/ 22104 h 22235"/>
              <a:gd name="connsiteX4" fmla="*/ 0 w 1267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11 w 12593"/>
              <a:gd name="connsiteY3" fmla="*/ 22104 h 22235"/>
              <a:gd name="connsiteX4" fmla="*/ 0 w 1259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22 w 12593"/>
              <a:gd name="connsiteY3" fmla="*/ 22126 h 22235"/>
              <a:gd name="connsiteX4" fmla="*/ 0 w 12593"/>
              <a:gd name="connsiteY4" fmla="*/ 22235 h 22235"/>
              <a:gd name="connsiteX0" fmla="*/ 0 w 12572"/>
              <a:gd name="connsiteY0" fmla="*/ 22147 h 22147"/>
              <a:gd name="connsiteX1" fmla="*/ 4652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  <a:gd name="connsiteX0" fmla="*/ 0 w 12572"/>
              <a:gd name="connsiteY0" fmla="*/ 22147 h 22147"/>
              <a:gd name="connsiteX1" fmla="*/ 4609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72" h="22147">
                <a:moveTo>
                  <a:pt x="0" y="22147"/>
                </a:moveTo>
                <a:lnTo>
                  <a:pt x="4609" y="0"/>
                </a:lnTo>
                <a:lnTo>
                  <a:pt x="12572" y="55"/>
                </a:lnTo>
                <a:lnTo>
                  <a:pt x="8101" y="22126"/>
                </a:lnTo>
                <a:lnTo>
                  <a:pt x="0" y="22147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 sz="1100"/>
            </a:lvl1pPr>
          </a:lstStyle>
          <a:p>
            <a:endParaRPr lang="de-DE" dirty="0"/>
          </a:p>
        </p:txBody>
      </p:sp>
      <p:sp>
        <p:nvSpPr>
          <p:cNvPr id="25" name="Bildplatzhalter 16"/>
          <p:cNvSpPr>
            <a:spLocks noGrp="1"/>
          </p:cNvSpPr>
          <p:nvPr>
            <p:ph type="pic" sz="quarter" idx="14"/>
          </p:nvPr>
        </p:nvSpPr>
        <p:spPr bwMode="gray">
          <a:xfrm>
            <a:off x="5360449" y="2516368"/>
            <a:ext cx="2789612" cy="2383737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10673 w 12673"/>
              <a:gd name="connsiteY3" fmla="*/ 10000 h 22235"/>
              <a:gd name="connsiteX4" fmla="*/ 0 w 12673"/>
              <a:gd name="connsiteY4" fmla="*/ 22235 h 22235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8111 w 12673"/>
              <a:gd name="connsiteY3" fmla="*/ 22104 h 22235"/>
              <a:gd name="connsiteX4" fmla="*/ 0 w 1267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11 w 12593"/>
              <a:gd name="connsiteY3" fmla="*/ 22104 h 22235"/>
              <a:gd name="connsiteX4" fmla="*/ 0 w 1259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22 w 12593"/>
              <a:gd name="connsiteY3" fmla="*/ 22126 h 22235"/>
              <a:gd name="connsiteX4" fmla="*/ 0 w 12593"/>
              <a:gd name="connsiteY4" fmla="*/ 22235 h 22235"/>
              <a:gd name="connsiteX0" fmla="*/ 0 w 12572"/>
              <a:gd name="connsiteY0" fmla="*/ 22147 h 22147"/>
              <a:gd name="connsiteX1" fmla="*/ 4652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  <a:gd name="connsiteX0" fmla="*/ 0 w 12572"/>
              <a:gd name="connsiteY0" fmla="*/ 22147 h 22147"/>
              <a:gd name="connsiteX1" fmla="*/ 4609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72" h="22147">
                <a:moveTo>
                  <a:pt x="0" y="22147"/>
                </a:moveTo>
                <a:lnTo>
                  <a:pt x="4609" y="0"/>
                </a:lnTo>
                <a:lnTo>
                  <a:pt x="12572" y="55"/>
                </a:lnTo>
                <a:lnTo>
                  <a:pt x="8101" y="22126"/>
                </a:lnTo>
                <a:lnTo>
                  <a:pt x="0" y="22147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 sz="1100"/>
            </a:lvl1pPr>
          </a:lstStyle>
          <a:p>
            <a:endParaRPr lang="de-DE" dirty="0"/>
          </a:p>
        </p:txBody>
      </p:sp>
      <p:sp>
        <p:nvSpPr>
          <p:cNvPr id="27" name="Bildplatzhalter 16"/>
          <p:cNvSpPr>
            <a:spLocks noGrp="1"/>
          </p:cNvSpPr>
          <p:nvPr>
            <p:ph type="pic" sz="quarter" idx="15"/>
          </p:nvPr>
        </p:nvSpPr>
        <p:spPr bwMode="gray">
          <a:xfrm>
            <a:off x="3756954" y="2091636"/>
            <a:ext cx="2789612" cy="2383737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10673 w 12673"/>
              <a:gd name="connsiteY3" fmla="*/ 10000 h 22235"/>
              <a:gd name="connsiteX4" fmla="*/ 0 w 12673"/>
              <a:gd name="connsiteY4" fmla="*/ 22235 h 22235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8111 w 12673"/>
              <a:gd name="connsiteY3" fmla="*/ 22104 h 22235"/>
              <a:gd name="connsiteX4" fmla="*/ 0 w 1267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11 w 12593"/>
              <a:gd name="connsiteY3" fmla="*/ 22104 h 22235"/>
              <a:gd name="connsiteX4" fmla="*/ 0 w 1259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22 w 12593"/>
              <a:gd name="connsiteY3" fmla="*/ 22126 h 22235"/>
              <a:gd name="connsiteX4" fmla="*/ 0 w 12593"/>
              <a:gd name="connsiteY4" fmla="*/ 22235 h 22235"/>
              <a:gd name="connsiteX0" fmla="*/ 0 w 12572"/>
              <a:gd name="connsiteY0" fmla="*/ 22147 h 22147"/>
              <a:gd name="connsiteX1" fmla="*/ 4652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  <a:gd name="connsiteX0" fmla="*/ 0 w 12572"/>
              <a:gd name="connsiteY0" fmla="*/ 22147 h 22147"/>
              <a:gd name="connsiteX1" fmla="*/ 4609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72" h="22147">
                <a:moveTo>
                  <a:pt x="0" y="22147"/>
                </a:moveTo>
                <a:lnTo>
                  <a:pt x="4609" y="0"/>
                </a:lnTo>
                <a:lnTo>
                  <a:pt x="12572" y="55"/>
                </a:lnTo>
                <a:lnTo>
                  <a:pt x="8101" y="22126"/>
                </a:lnTo>
                <a:lnTo>
                  <a:pt x="0" y="22147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 sz="11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8823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0_Custom Layout">
  <p:cSld name="10_Custom Layou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sldNum" idx="12"/>
          </p:nvPr>
        </p:nvSpPr>
        <p:spPr>
          <a:xfrm>
            <a:off x="415713" y="6456267"/>
            <a:ext cx="153943" cy="15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71359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045952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31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B69C1F7-012E-4CA6-B41C-E1ADD183DFDA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634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65978" y="6424617"/>
            <a:ext cx="8080487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5" indent="0">
              <a:defRPr sz="800">
                <a:solidFill>
                  <a:schemeClr val="tx1"/>
                </a:solidFill>
              </a:defRPr>
            </a:lvl3pPr>
            <a:lvl4pPr marL="3169" indent="0">
              <a:defRPr sz="800">
                <a:solidFill>
                  <a:schemeClr val="tx1"/>
                </a:solidFill>
              </a:defRPr>
            </a:lvl4pPr>
            <a:lvl5pPr marL="3169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>
                <a:solidFill>
                  <a:srgbClr val="4D4D4D"/>
                </a:solidFill>
              </a:rPr>
              <a:t>/// Bayer AG - Corporate Innovation /// October 2018</a:t>
            </a:r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74718" y="6424617"/>
            <a:ext cx="44561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5" indent="0" algn="r">
              <a:defRPr sz="800">
                <a:solidFill>
                  <a:schemeClr val="tx1"/>
                </a:solidFill>
              </a:defRPr>
            </a:lvl2pPr>
            <a:lvl3pPr marL="0" indent="0" algn="r">
              <a:defRPr sz="800">
                <a:solidFill>
                  <a:schemeClr val="tx1"/>
                </a:solidFill>
              </a:defRPr>
            </a:lvl3pPr>
            <a:lvl4pPr marL="0" indent="0" algn="r">
              <a:defRPr sz="800">
                <a:solidFill>
                  <a:schemeClr val="tx1"/>
                </a:solidFill>
              </a:defRPr>
            </a:lvl4pPr>
            <a:lvl5pPr marL="0" indent="0" algn="r">
              <a:defRPr sz="800">
                <a:solidFill>
                  <a:schemeClr val="tx1"/>
                </a:solidFill>
              </a:defRPr>
            </a:lvl5pPr>
            <a:lvl6pPr marL="0" indent="0" algn="r">
              <a:defRPr sz="800">
                <a:solidFill>
                  <a:schemeClr val="tx1"/>
                </a:solidFill>
              </a:defRPr>
            </a:lvl6pPr>
            <a:lvl7pPr marL="0" indent="0" algn="r">
              <a:defRPr sz="800">
                <a:solidFill>
                  <a:schemeClr val="tx1"/>
                </a:solidFill>
              </a:defRPr>
            </a:lvl7pPr>
            <a:lvl8pPr marL="0" indent="0" algn="r">
              <a:defRPr sz="800">
                <a:solidFill>
                  <a:schemeClr val="tx1"/>
                </a:solidFill>
              </a:defRPr>
            </a:lvl8pPr>
            <a:lvl9pPr marL="0" indent="0" algn="r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4D4D4D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4D4D4D"/>
                </a:solidFill>
              </a:rPr>
              <a:pPr/>
              <a:t>‹Nº›</a:t>
            </a:fld>
            <a:endParaRPr lang="en-US" dirty="0">
              <a:solidFill>
                <a:srgbClr val="4D4D4D"/>
              </a:solidFill>
            </a:endParaRPr>
          </a:p>
        </p:txBody>
      </p:sp>
      <p:pic>
        <p:nvPicPr>
          <p:cNvPr id="12" name="Grafik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8299"/>
          <a:stretch/>
        </p:blipFill>
        <p:spPr>
          <a:xfrm>
            <a:off x="191535" y="-6383065"/>
            <a:ext cx="3576290" cy="12277105"/>
          </a:xfrm>
          <a:prstGeom prst="rect">
            <a:avLst/>
          </a:prstGeom>
        </p:spPr>
      </p:pic>
      <p:sp>
        <p:nvSpPr>
          <p:cNvPr id="13" name="Titelplatzhalter 1"/>
          <p:cNvSpPr>
            <a:spLocks noGrp="1"/>
          </p:cNvSpPr>
          <p:nvPr>
            <p:ph type="title" hasCustomPrompt="1"/>
          </p:nvPr>
        </p:nvSpPr>
        <p:spPr bwMode="gray">
          <a:xfrm>
            <a:off x="3991093" y="2689697"/>
            <a:ext cx="7712722" cy="102584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8000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5598" y="4048787"/>
            <a:ext cx="5438214" cy="843456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48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None/>
              <a:defRPr sz="3200"/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None/>
              <a:defRPr sz="3200"/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None/>
              <a:defRPr sz="320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9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0941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1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80000">
                                      <p:cBhvr>
                                        <p:cTn id="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autoRev="1" fill="hold" nodeType="withEffect">
                                  <p:stCondLst>
                                    <p:cond delay="1950"/>
                                  </p:stCondLst>
                                  <p:childTnLst>
                                    <p:animRot by="-180000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decel="1800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Rot by="180000">
                                      <p:cBhvr>
                                        <p:cTn id="1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decel="8000" fill="hold" nodeType="withEffect">
                                  <p:stCondLst>
                                    <p:cond delay="5250"/>
                                  </p:stCondLst>
                                  <p:childTnLst>
                                    <p:animRot by="-180000">
                                      <p:cBhvr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27"/>
          <p:cNvSpPr/>
          <p:nvPr userDrawn="1"/>
        </p:nvSpPr>
        <p:spPr>
          <a:xfrm>
            <a:off x="7938425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12700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3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3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17B899-02CC-4DAB-8FF3-C7ECF4C20326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69" y="1732751"/>
            <a:ext cx="6048231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6" y="0"/>
            <a:ext cx="1652639" cy="6858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 flipH="1">
            <a:off x="-3226" y="-6350"/>
            <a:ext cx="1446237" cy="566323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4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229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64"/>
            <a:fld id="{F771ACC0-F8C4-44A9-A91A-EEB3E393C7A9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64"/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64"/>
            <a:fld id="{EEAD9179-7A6B-4268-BEB2-F3B8EB06115B}" type="slidenum">
              <a:rPr lang="en-US" smtClean="0">
                <a:solidFill>
                  <a:srgbClr val="00BCFF"/>
                </a:solidFill>
              </a:rPr>
              <a:pPr defTabSz="914364"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967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xt Slides (customized 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gray">
          <a:xfrm>
            <a:off x="-13588" y="4"/>
            <a:ext cx="12204001" cy="6865883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0" rIns="91422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96ADD-C7F6-44AA-9D25-BDBCA7992402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2663" y="1732751"/>
            <a:ext cx="10797618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>
            <a:extLst>
              <a:ext uri="{FF2B5EF4-FFF2-40B4-BE49-F238E27FC236}">
                <a16:creationId xmlns:a16="http://schemas.microsoft.com/office/drawing/2014/main" id="{116CC821-8EF5-46C9-B923-CF77182D32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3463" y="617158"/>
            <a:ext cx="399641" cy="399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 bwMode="gray">
          <a:xfrm>
            <a:off x="982666" y="439113"/>
            <a:ext cx="10797617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056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486943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5C7F914-83AD-4B21-9D38-DBC168D609B1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71" y="1732751"/>
            <a:ext cx="10132311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9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2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26" name="Straight Connector 25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199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1269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486943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B0E7AB9-2E50-4533-9D98-BF9B221F6C1D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70" y="1732751"/>
            <a:ext cx="602918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9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2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26" name="Straight Connector 25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125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tags" Target="../tags/tag2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17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heme" Target="../theme/theme2.xml"/><Relationship Id="rId27" Type="http://schemas.openxmlformats.org/officeDocument/2006/relationships/image" Target="../media/image16.emf"/><Relationship Id="rId30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image" Target="../media/image8.wmf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tags" Target="../tags/tag11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image" Target="../media/image20.emf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vmlDrawing" Target="../drawings/vmlDrawing9.vml"/><Relationship Id="rId30" Type="http://schemas.openxmlformats.org/officeDocument/2006/relationships/oleObject" Target="../embeddings/oleObject9.bin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3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pPr defTabSz="914394"/>
            <a:fld id="{9751CE34-D6B8-4208-BFAB-E51E60E6335A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pPr defTabSz="914394"/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pPr defTabSz="914394"/>
            <a:fld id="{EEAD9179-7A6B-4268-BEB2-F3B8EB06115B}" type="slidenum">
              <a:rPr lang="en-US" smtClean="0">
                <a:solidFill>
                  <a:srgbClr val="00BCFF"/>
                </a:solidFill>
              </a:rPr>
              <a:pPr defTabSz="914394"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676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  <p:sldLayoutId id="2147484552" r:id="rId30"/>
    <p:sldLayoutId id="2147484553" r:id="rId31"/>
    <p:sldLayoutId id="2147484632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94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94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69998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96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994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992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992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992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992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992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4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8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6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2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8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74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0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3" pos="4134" userDrawn="1">
          <p15:clr>
            <a:srgbClr val="F26B43"/>
          </p15:clr>
        </p15:guide>
        <p15:guide id="6" pos="7422" userDrawn="1">
          <p15:clr>
            <a:srgbClr val="F26B43"/>
          </p15:clr>
        </p15:guide>
        <p15:guide id="7" pos="2376" userDrawn="1">
          <p15:clr>
            <a:srgbClr val="F26B43"/>
          </p15:clr>
        </p15:guide>
        <p15:guide id="8" pos="2150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5894" userDrawn="1">
          <p15:clr>
            <a:srgbClr val="F26B43"/>
          </p15:clr>
        </p15:guide>
        <p15:guide id="14" pos="5666" userDrawn="1">
          <p15:clr>
            <a:srgbClr val="F26B43"/>
          </p15:clr>
        </p15:guide>
        <p15:guide id="15" pos="4020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83732315"/>
              </p:ext>
            </p:extLst>
          </p:nvPr>
        </p:nvGraphicFramePr>
        <p:xfrm>
          <a:off x="1664" y="166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5" name="think-cell Folie" r:id="rId26" imgW="216" imgH="216" progId="TCLayout.ActiveDocument.1">
                  <p:embed/>
                </p:oleObj>
              </mc:Choice>
              <mc:Fallback>
                <p:oleObj name="think-cell Folie" r:id="rId2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664" y="166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25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9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52" y="181938"/>
            <a:ext cx="10798459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pPr defTabSz="913451"/>
            <a:fld id="{094BAFEA-4393-4F99-9F37-046964048482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7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pPr defTabSz="913451"/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50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pPr defTabSz="913451"/>
            <a:fld id="{EEAD9179-7A6B-4268-BEB2-F3B8EB06115B}" type="slidenum">
              <a:rPr lang="en-US" smtClean="0">
                <a:solidFill>
                  <a:srgbClr val="00BCFF"/>
                </a:solidFill>
              </a:rPr>
              <a:pPr defTabSz="913451"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8" name="BayLabel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7549" y="6497053"/>
            <a:ext cx="1502414" cy="303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423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9" r:id="rId1"/>
    <p:sldLayoutId id="2147484840" r:id="rId2"/>
    <p:sldLayoutId id="2147484841" r:id="rId3"/>
    <p:sldLayoutId id="2147484842" r:id="rId4"/>
    <p:sldLayoutId id="2147484843" r:id="rId5"/>
    <p:sldLayoutId id="2147484844" r:id="rId6"/>
    <p:sldLayoutId id="2147484845" r:id="rId7"/>
    <p:sldLayoutId id="2147484846" r:id="rId8"/>
    <p:sldLayoutId id="2147484847" r:id="rId9"/>
    <p:sldLayoutId id="2147484848" r:id="rId10"/>
    <p:sldLayoutId id="2147484849" r:id="rId11"/>
    <p:sldLayoutId id="2147484850" r:id="rId12"/>
    <p:sldLayoutId id="2147484851" r:id="rId13"/>
    <p:sldLayoutId id="2147484852" r:id="rId14"/>
    <p:sldLayoutId id="2147484853" r:id="rId15"/>
    <p:sldLayoutId id="2147484854" r:id="rId16"/>
    <p:sldLayoutId id="2147484855" r:id="rId17"/>
    <p:sldLayoutId id="2147484856" r:id="rId18"/>
    <p:sldLayoutId id="2147484857" r:id="rId19"/>
    <p:sldLayoutId id="2147484858" r:id="rId20"/>
    <p:sldLayoutId id="2147484859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451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451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9702" indent="-269702" algn="l" defTabSz="913451" rtl="0" eaLnBrk="1" latinLnBrk="0" hangingPunct="1">
        <a:spcBef>
          <a:spcPts val="300"/>
        </a:spcBef>
        <a:spcAft>
          <a:spcPts val="600"/>
        </a:spcAft>
        <a:buFontTx/>
        <a:buBlip>
          <a:blip r:embed="rId29"/>
        </a:buBlip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539441" indent="-269702" algn="l" defTabSz="913451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809133" indent="-269702" algn="l" defTabSz="913451" rtl="0" eaLnBrk="1" latinLnBrk="0" hangingPunct="1">
        <a:spcBef>
          <a:spcPts val="300"/>
        </a:spcBef>
        <a:spcAft>
          <a:spcPts val="600"/>
        </a:spcAft>
        <a:buFontTx/>
        <a:buBlip>
          <a:blip r:embed="rId31"/>
        </a:buBlip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078882" indent="-269702" algn="l" defTabSz="913451" rtl="0" eaLnBrk="1" latinLnBrk="0" hangingPunct="1">
        <a:spcBef>
          <a:spcPts val="300"/>
        </a:spcBef>
        <a:spcAft>
          <a:spcPts val="600"/>
        </a:spcAft>
        <a:buFontTx/>
        <a:buBlip>
          <a:blip r:embed="rId32"/>
        </a:buBlip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1078882" indent="-269702" algn="l" defTabSz="913451" rtl="0" eaLnBrk="1" latinLnBrk="0" hangingPunct="1">
        <a:spcBef>
          <a:spcPts val="300"/>
        </a:spcBef>
        <a:spcAft>
          <a:spcPts val="600"/>
        </a:spcAft>
        <a:buFontTx/>
        <a:buBlip>
          <a:blip r:embed="rId32"/>
        </a:buBlip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1078882" indent="-269702" algn="l" defTabSz="913451" rtl="0" eaLnBrk="1" latinLnBrk="0" hangingPunct="1">
        <a:spcBef>
          <a:spcPts val="300"/>
        </a:spcBef>
        <a:spcAft>
          <a:spcPts val="600"/>
        </a:spcAft>
        <a:buFontTx/>
        <a:buBlip>
          <a:blip r:embed="rId32"/>
        </a:buBlip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1078882" indent="-269702" algn="l" defTabSz="913451" rtl="0" eaLnBrk="1" latinLnBrk="0" hangingPunct="1">
        <a:spcBef>
          <a:spcPts val="300"/>
        </a:spcBef>
        <a:spcAft>
          <a:spcPts val="600"/>
        </a:spcAft>
        <a:buFontTx/>
        <a:buBlip>
          <a:blip r:embed="rId32"/>
        </a:buBlip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1078882" indent="-269702" algn="l" defTabSz="913451" rtl="0" eaLnBrk="1" latinLnBrk="0" hangingPunct="1">
        <a:spcBef>
          <a:spcPts val="300"/>
        </a:spcBef>
        <a:spcAft>
          <a:spcPts val="600"/>
        </a:spcAft>
        <a:buFontTx/>
        <a:buBlip>
          <a:blip r:embed="rId32"/>
        </a:buBlip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4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17" algn="l" defTabSz="9134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51" algn="l" defTabSz="9134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55" algn="l" defTabSz="9134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71" algn="l" defTabSz="9134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582" algn="l" defTabSz="9134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303" algn="l" defTabSz="9134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024" algn="l" defTabSz="9134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739" algn="l" defTabSz="9134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3" pos="4134" userDrawn="1">
          <p15:clr>
            <a:srgbClr val="F26B43"/>
          </p15:clr>
        </p15:guide>
        <p15:guide id="6" pos="7422" userDrawn="1">
          <p15:clr>
            <a:srgbClr val="F26B43"/>
          </p15:clr>
        </p15:guide>
        <p15:guide id="7" pos="2376" userDrawn="1">
          <p15:clr>
            <a:srgbClr val="F26B43"/>
          </p15:clr>
        </p15:guide>
        <p15:guide id="8" pos="2150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5894" userDrawn="1">
          <p15:clr>
            <a:srgbClr val="F26B43"/>
          </p15:clr>
        </p15:guide>
        <p15:guide id="14" pos="5666" userDrawn="1">
          <p15:clr>
            <a:srgbClr val="F26B43"/>
          </p15:clr>
        </p15:guide>
        <p15:guide id="15" pos="4020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66891310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59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95" y="159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29"/>
            </p:custDataLst>
          </p:nvPr>
        </p:nvSpPr>
        <p:spPr bwMode="gray">
          <a:xfrm>
            <a:off x="0" y="0"/>
            <a:ext cx="158502" cy="1583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7260">
              <a:spcBef>
                <a:spcPct val="0"/>
              </a:spcBef>
              <a:spcAft>
                <a:spcPct val="0"/>
              </a:spcAft>
            </a:pPr>
            <a:endParaRPr lang="de-DE" sz="280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9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pPr defTabSz="914364"/>
            <a:fld id="{E6A0DFC9-2A79-4F69-974F-A40A93450442}" type="datetime1">
              <a:rPr lang="en-US" smtClean="0"/>
              <a:t>8/22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pPr defTabSz="914364"/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pPr defTabSz="914364"/>
            <a:fld id="{EEAD9179-7A6B-4268-BEB2-F3B8EB06115B}" type="slidenum">
              <a:rPr lang="en-US" smtClean="0">
                <a:solidFill>
                  <a:srgbClr val="00BCFF"/>
                </a:solidFill>
              </a:rPr>
              <a:pPr defTabSz="914364"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8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5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6394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7" r:id="rId1"/>
    <p:sldLayoutId id="2147484918" r:id="rId2"/>
    <p:sldLayoutId id="2147484919" r:id="rId3"/>
    <p:sldLayoutId id="2147484920" r:id="rId4"/>
    <p:sldLayoutId id="2147484921" r:id="rId5"/>
    <p:sldLayoutId id="2147484922" r:id="rId6"/>
    <p:sldLayoutId id="2147484923" r:id="rId7"/>
    <p:sldLayoutId id="2147484924" r:id="rId8"/>
    <p:sldLayoutId id="2147484925" r:id="rId9"/>
    <p:sldLayoutId id="2147484926" r:id="rId10"/>
    <p:sldLayoutId id="2147484927" r:id="rId11"/>
    <p:sldLayoutId id="2147484928" r:id="rId12"/>
    <p:sldLayoutId id="2147484929" r:id="rId13"/>
    <p:sldLayoutId id="2147484930" r:id="rId14"/>
    <p:sldLayoutId id="2147484931" r:id="rId15"/>
    <p:sldLayoutId id="2147484932" r:id="rId16"/>
    <p:sldLayoutId id="2147484933" r:id="rId17"/>
    <p:sldLayoutId id="2147484934" r:id="rId18"/>
    <p:sldLayoutId id="2147484935" r:id="rId19"/>
    <p:sldLayoutId id="2147484936" r:id="rId20"/>
    <p:sldLayoutId id="2147484937" r:id="rId21"/>
    <p:sldLayoutId id="2147484938" r:id="rId22"/>
    <p:sldLayoutId id="2147484939" r:id="rId23"/>
    <p:sldLayoutId id="2147484940" r:id="rId24"/>
    <p:sldLayoutId id="2147484941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64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64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69988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76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964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952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952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952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952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952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6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8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8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5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1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3" pos="4134" userDrawn="1">
          <p15:clr>
            <a:srgbClr val="F26B43"/>
          </p15:clr>
        </p15:guide>
        <p15:guide id="6" pos="7422" userDrawn="1">
          <p15:clr>
            <a:srgbClr val="F26B43"/>
          </p15:clr>
        </p15:guide>
        <p15:guide id="7" pos="2376" userDrawn="1">
          <p15:clr>
            <a:srgbClr val="F26B43"/>
          </p15:clr>
        </p15:guide>
        <p15:guide id="8" pos="2150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5894" userDrawn="1">
          <p15:clr>
            <a:srgbClr val="F26B43"/>
          </p15:clr>
        </p15:guide>
        <p15:guide id="14" pos="5666" userDrawn="1">
          <p15:clr>
            <a:srgbClr val="F26B43"/>
          </p15:clr>
        </p15:guide>
        <p15:guide id="15" pos="4020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hyperlink" Target="https://siri-kt.blogspot.com/2016/07/aws-tutorials.html" TargetMode="External"/><Relationship Id="rId7" Type="http://schemas.openxmlformats.org/officeDocument/2006/relationships/image" Target="../media/image35.pn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hyperlink" Target="https://creativecommons.org/licenses/by/3.0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hyperlink" Target="https://github.platforms.engineering/POD-Inc/pod-node-library/tree/develop/finance-config-loader" TargetMode="External"/><Relationship Id="rId1" Type="http://schemas.openxmlformats.org/officeDocument/2006/relationships/slideLayout" Target="../slideLayouts/slideLayout17.xml"/><Relationship Id="rId5" Type="http://schemas.openxmlformats.org/officeDocument/2006/relationships/hyperlink" Target="https://creativecommons.org/licenses/by-sa/3.0/" TargetMode="External"/><Relationship Id="rId4" Type="http://schemas.openxmlformats.org/officeDocument/2006/relationships/hyperlink" Target="https://en.wikipedia.org/wiki/File:Duke_Humfrey%27s_Library_Interior_5,_Bodleian_Library,_Oxford,_UK_-_Diliff.jpg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hyperlink" Target="https://creativecommons.org/licenses/by-sa/3.0/" TargetMode="External"/><Relationship Id="rId7" Type="http://schemas.openxmlformats.org/officeDocument/2006/relationships/image" Target="../media/image40.png"/><Relationship Id="rId2" Type="http://schemas.openxmlformats.org/officeDocument/2006/relationships/hyperlink" Target="https://commons.wikimedia.org/wiki/File:Gears.JPG" TargetMode="Externa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9.png"/><Relationship Id="rId5" Type="http://schemas.openxmlformats.org/officeDocument/2006/relationships/hyperlink" Target="https://commons.wikimedia.org/wiki/File:Seattle_-_Workers_with_Montlake_Bridge_gears,_1953.jpg" TargetMode="External"/><Relationship Id="rId4" Type="http://schemas.openxmlformats.org/officeDocument/2006/relationships/image" Target="../media/image38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cyber-security-security-lock-1915628/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hyperlink" Target="https://creativecommons.org/licenses/by-sa/3.0/" TargetMode="External"/><Relationship Id="rId7" Type="http://schemas.openxmlformats.org/officeDocument/2006/relationships/hyperlink" Target="https://en.m.wikipedia.org/wiki/File:AWS_Simple_Icons_Virtual_Private_Cloud.svg" TargetMode="External"/><Relationship Id="rId2" Type="http://schemas.openxmlformats.org/officeDocument/2006/relationships/hyperlink" Target="https://en.wikipedia.org/wiki/File:Gate_latch.jpg" TargetMode="Externa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4.png"/><Relationship Id="rId5" Type="http://schemas.openxmlformats.org/officeDocument/2006/relationships/hyperlink" Target="https://creativecommons.org/licenses/by/3.0/" TargetMode="External"/><Relationship Id="rId10" Type="http://schemas.openxmlformats.org/officeDocument/2006/relationships/image" Target="../media/image46.png"/><Relationship Id="rId4" Type="http://schemas.openxmlformats.org/officeDocument/2006/relationships/hyperlink" Target="https://www.diggita.it/story.php?title=Cosa_significa_sognare_un_cancello_che_si_apre_o_si_chiude" TargetMode="External"/><Relationship Id="rId9" Type="http://schemas.openxmlformats.org/officeDocument/2006/relationships/hyperlink" Target="http://commons.wikimedia.org/wiki/File:Ambox_warning_yellow.svg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hyperlink" Target="https://creativecommons.org/licenses/by-sa/3.0/" TargetMode="External"/><Relationship Id="rId7" Type="http://schemas.openxmlformats.org/officeDocument/2006/relationships/hyperlink" Target="https://en.m.wikipedia.org/wiki/File:AWS_Simple_Icons_Virtual_Private_Cloud.svg" TargetMode="External"/><Relationship Id="rId2" Type="http://schemas.openxmlformats.org/officeDocument/2006/relationships/hyperlink" Target="https://en.wikipedia.org/wiki/File:Gate_latch.jpg" TargetMode="Externa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4.png"/><Relationship Id="rId5" Type="http://schemas.openxmlformats.org/officeDocument/2006/relationships/hyperlink" Target="https://creativecommons.org/licenses/by/3.0/" TargetMode="External"/><Relationship Id="rId10" Type="http://schemas.openxmlformats.org/officeDocument/2006/relationships/image" Target="../media/image48.png"/><Relationship Id="rId4" Type="http://schemas.openxmlformats.org/officeDocument/2006/relationships/hyperlink" Target="https://www.diggita.it/story.php?title=Cosa_significa_sognare_un_cancello_che_si_apre_o_si_chiude" TargetMode="External"/><Relationship Id="rId9" Type="http://schemas.openxmlformats.org/officeDocument/2006/relationships/hyperlink" Target="http://commons.wikimedia.org/wiki/File:2000px-ok_x_nuvola_green.png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corporateeurope.org/power-lobbies/2016/03/trade-secrets-protection" TargetMode="Externa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7.xml"/><Relationship Id="rId4" Type="http://schemas.openxmlformats.org/officeDocument/2006/relationships/hyperlink" Target="https://creativecommons.org/licenses/by-nc-sa/3.0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ial-greatyarmouth.org.uk/benefits-advice/" TargetMode="External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ws.amazon.com/systems-manager/latest/userguide/systems-manager-parameter-store.html" TargetMode="External"/><Relationship Id="rId3" Type="http://schemas.openxmlformats.org/officeDocument/2006/relationships/tags" Target="../tags/tag30.xml"/><Relationship Id="rId7" Type="http://schemas.openxmlformats.org/officeDocument/2006/relationships/image" Target="../media/image50.jpg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6.bin"/><Relationship Id="rId10" Type="http://schemas.openxmlformats.org/officeDocument/2006/relationships/hyperlink" Target="https://docs.aws.amazon.com/secretsmanager/latest/userguide/intro.html" TargetMode="External"/><Relationship Id="rId4" Type="http://schemas.openxmlformats.org/officeDocument/2006/relationships/slideLayout" Target="../slideLayouts/slideLayout38.xml"/><Relationship Id="rId9" Type="http://schemas.openxmlformats.org/officeDocument/2006/relationships/hyperlink" Target="https://docs.aws.amazon.com/systems-manager/latest/userguide/sysman-paramstore-cwe.html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confinder.com/icons/3287265/centralization_centralized_inside_icon" TargetMode="External"/><Relationship Id="rId3" Type="http://schemas.openxmlformats.org/officeDocument/2006/relationships/tags" Target="../tags/tag18.xml"/><Relationship Id="rId7" Type="http://schemas.openxmlformats.org/officeDocument/2006/relationships/image" Target="../media/image2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knowyourmeme.com/photos/1273780-thinking-face-emoji-%F0%9F%A4%94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ial-greatyarmouth.org.uk/benefits-advice/" TargetMode="External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ickr.com/photos/jblndl/138978422" TargetMode="External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7.xml"/><Relationship Id="rId4" Type="http://schemas.openxmlformats.org/officeDocument/2006/relationships/hyperlink" Target="https://creativecommons.org/licenses/by-sa/3.0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9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3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197985"/>
              </p:ext>
            </p:extLst>
          </p:nvPr>
        </p:nvGraphicFramePr>
        <p:xfrm>
          <a:off x="1590" y="1588"/>
          <a:ext cx="1585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5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Gerade Verbindung 25"/>
          <p:cNvCxnSpPr/>
          <p:nvPr/>
        </p:nvCxnSpPr>
        <p:spPr>
          <a:xfrm flipV="1">
            <a:off x="-895018" y="-124833"/>
            <a:ext cx="2619527" cy="7526521"/>
          </a:xfrm>
          <a:prstGeom prst="line">
            <a:avLst/>
          </a:prstGeom>
          <a:ln w="1270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1"/>
          <p:cNvSpPr/>
          <p:nvPr/>
        </p:nvSpPr>
        <p:spPr bwMode="auto">
          <a:xfrm>
            <a:off x="2633583" y="-124833"/>
            <a:ext cx="11983166" cy="7555470"/>
          </a:xfrm>
          <a:custGeom>
            <a:avLst/>
            <a:gdLst>
              <a:gd name="connsiteX0" fmla="*/ 0 w 7141029"/>
              <a:gd name="connsiteY0" fmla="*/ 0 h 7547429"/>
              <a:gd name="connsiteX1" fmla="*/ 7141029 w 7141029"/>
              <a:gd name="connsiteY1" fmla="*/ 0 h 7547429"/>
              <a:gd name="connsiteX2" fmla="*/ 7141029 w 7141029"/>
              <a:gd name="connsiteY2" fmla="*/ 7547429 h 7547429"/>
              <a:gd name="connsiteX3" fmla="*/ 0 w 7141029"/>
              <a:gd name="connsiteY3" fmla="*/ 7547429 h 7547429"/>
              <a:gd name="connsiteX4" fmla="*/ 0 w 7141029"/>
              <a:gd name="connsiteY4" fmla="*/ 0 h 7547429"/>
              <a:gd name="connsiteX0" fmla="*/ 0 w 9085943"/>
              <a:gd name="connsiteY0" fmla="*/ 29028 h 7576457"/>
              <a:gd name="connsiteX1" fmla="*/ 9085943 w 9085943"/>
              <a:gd name="connsiteY1" fmla="*/ 0 h 7576457"/>
              <a:gd name="connsiteX2" fmla="*/ 7141029 w 9085943"/>
              <a:gd name="connsiteY2" fmla="*/ 7576457 h 7576457"/>
              <a:gd name="connsiteX3" fmla="*/ 0 w 9085943"/>
              <a:gd name="connsiteY3" fmla="*/ 7576457 h 7576457"/>
              <a:gd name="connsiteX4" fmla="*/ 0 w 9085943"/>
              <a:gd name="connsiteY4" fmla="*/ 29028 h 7576457"/>
              <a:gd name="connsiteX0" fmla="*/ 1494971 w 10580914"/>
              <a:gd name="connsiteY0" fmla="*/ 29028 h 7576457"/>
              <a:gd name="connsiteX1" fmla="*/ 10580914 w 10580914"/>
              <a:gd name="connsiteY1" fmla="*/ 0 h 7576457"/>
              <a:gd name="connsiteX2" fmla="*/ 8636000 w 10580914"/>
              <a:gd name="connsiteY2" fmla="*/ 7576457 h 7576457"/>
              <a:gd name="connsiteX3" fmla="*/ 0 w 10580914"/>
              <a:gd name="connsiteY3" fmla="*/ 7576457 h 7576457"/>
              <a:gd name="connsiteX4" fmla="*/ 1494971 w 10580914"/>
              <a:gd name="connsiteY4" fmla="*/ 29028 h 7576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80914" h="7576457">
                <a:moveTo>
                  <a:pt x="1494971" y="29028"/>
                </a:moveTo>
                <a:lnTo>
                  <a:pt x="10580914" y="0"/>
                </a:lnTo>
                <a:lnTo>
                  <a:pt x="8636000" y="7576457"/>
                </a:lnTo>
                <a:lnTo>
                  <a:pt x="0" y="7576457"/>
                </a:lnTo>
                <a:lnTo>
                  <a:pt x="1494971" y="29028"/>
                </a:lnTo>
                <a:close/>
              </a:path>
            </a:pathLst>
          </a:custGeom>
          <a:solidFill>
            <a:srgbClr val="2175A5">
              <a:alpha val="80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3" name="Textfeld 2"/>
          <p:cNvSpPr txBox="1"/>
          <p:nvPr/>
        </p:nvSpPr>
        <p:spPr bwMode="gray">
          <a:xfrm>
            <a:off x="3963163" y="792565"/>
            <a:ext cx="912973" cy="91186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5000" dirty="0">
              <a:solidFill>
                <a:srgbClr val="FFFFFF"/>
              </a:solidFill>
            </a:endParaRPr>
          </a:p>
          <a:p>
            <a:r>
              <a:rPr lang="en-US" sz="4000" i="1" dirty="0">
                <a:solidFill>
                  <a:schemeClr val="bg1"/>
                </a:solidFill>
              </a:rPr>
              <a:t>Introduction to</a:t>
            </a:r>
          </a:p>
          <a:p>
            <a:r>
              <a:rPr lang="en-US" sz="4000" i="1" dirty="0">
                <a:solidFill>
                  <a:schemeClr val="bg1"/>
                </a:solidFill>
              </a:rPr>
              <a:t>AWS System Manager </a:t>
            </a:r>
          </a:p>
          <a:p>
            <a:r>
              <a:rPr lang="en-US" sz="4000" i="1" dirty="0">
                <a:solidFill>
                  <a:schemeClr val="bg1"/>
                </a:solidFill>
              </a:rPr>
              <a:t>Parameter Store</a:t>
            </a:r>
          </a:p>
        </p:txBody>
      </p:sp>
    </p:spTree>
    <p:extLst>
      <p:ext uri="{BB962C8B-B14F-4D97-AF65-F5344CB8AC3E}">
        <p14:creationId xmlns:p14="http://schemas.microsoft.com/office/powerpoint/2010/main" val="2831742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8" descr="Imagen que contiene edificio&#10;&#10;Descripción generada automáticamente">
            <a:extLst>
              <a:ext uri="{FF2B5EF4-FFF2-40B4-BE49-F238E27FC236}">
                <a16:creationId xmlns:a16="http://schemas.microsoft.com/office/drawing/2014/main" id="{21EDF5A0-B64F-5546-B81A-BD88E07243BA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9317" r="19317"/>
          <a:stretch>
            <a:fillRect/>
          </a:stretch>
        </p:blipFill>
        <p:spPr/>
      </p:pic>
      <p:sp>
        <p:nvSpPr>
          <p:cNvPr id="3" name="Subtítulo 2">
            <a:extLst>
              <a:ext uri="{FF2B5EF4-FFF2-40B4-BE49-F238E27FC236}">
                <a16:creationId xmlns:a16="http://schemas.microsoft.com/office/drawing/2014/main" id="{277B859C-D69B-FD46-ABE3-7C0A45316A2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How we are using it at Indystry System? – Cloud Formation Templates</a:t>
            </a:r>
          </a:p>
          <a:p>
            <a:endParaRPr lang="es-AR" dirty="0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E481DFA4-637B-1F40-9FB1-606875762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479E8A1-D781-AD41-A3B5-80F95006F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10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CAAA54EB-D75C-7642-938D-87BCDE8E5752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3" tooltip="https://siri-kt.blogspot.com/2016/07/aws-tutorials.html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4" tooltip="https://creativecommons.org/licenses/by/3.0/"/>
              </a:rPr>
              <a:t>CC BY</a:t>
            </a:r>
            <a:endParaRPr lang="es-AR" sz="900"/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2650182E-F170-3A49-9CF5-910F6D64C76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284"/>
          <a:stretch/>
        </p:blipFill>
        <p:spPr>
          <a:xfrm>
            <a:off x="1242096" y="1517942"/>
            <a:ext cx="5267886" cy="1680752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F18D7C96-DEBA-0146-9349-289301956CA2}"/>
              </a:ext>
            </a:extLst>
          </p:cNvPr>
          <p:cNvSpPr txBox="1"/>
          <p:nvPr/>
        </p:nvSpPr>
        <p:spPr bwMode="gray">
          <a:xfrm>
            <a:off x="-1473958" y="-23201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s-AR" dirty="0" err="1"/>
          </a:p>
        </p:txBody>
      </p:sp>
      <p:pic>
        <p:nvPicPr>
          <p:cNvPr id="23" name="Imagen 22" descr="Imagen que contiene captura de pantalla&#10;&#10;Descripción generada automáticamente">
            <a:extLst>
              <a:ext uri="{FF2B5EF4-FFF2-40B4-BE49-F238E27FC236}">
                <a16:creationId xmlns:a16="http://schemas.microsoft.com/office/drawing/2014/main" id="{FA9CF647-EB95-C94F-9913-C8DF6D43AED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106"/>
          <a:stretch/>
        </p:blipFill>
        <p:spPr>
          <a:xfrm>
            <a:off x="606687" y="4822888"/>
            <a:ext cx="5472752" cy="1131967"/>
          </a:xfrm>
          <a:prstGeom prst="rect">
            <a:avLst/>
          </a:prstGeom>
        </p:spPr>
      </p:pic>
      <p:pic>
        <p:nvPicPr>
          <p:cNvPr id="25" name="Imagen 24" descr="Imagen que contiene captura de pantalla&#10;&#10;Descripción generada automáticamente">
            <a:extLst>
              <a:ext uri="{FF2B5EF4-FFF2-40B4-BE49-F238E27FC236}">
                <a16:creationId xmlns:a16="http://schemas.microsoft.com/office/drawing/2014/main" id="{438E2D28-279A-F744-B3EE-5F6B542975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473" y="6007100"/>
            <a:ext cx="7059388" cy="850900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085938C4-42B4-CB45-938D-1DE41213CD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2096" y="3326337"/>
            <a:ext cx="3299287" cy="1274491"/>
          </a:xfrm>
          <a:prstGeom prst="rect">
            <a:avLst/>
          </a:prstGeom>
        </p:spPr>
      </p:pic>
      <p:sp>
        <p:nvSpPr>
          <p:cNvPr id="29" name="Cerrar llave 28">
            <a:extLst>
              <a:ext uri="{FF2B5EF4-FFF2-40B4-BE49-F238E27FC236}">
                <a16:creationId xmlns:a16="http://schemas.microsoft.com/office/drawing/2014/main" id="{0A4C1F61-EDF8-EF42-A42C-A8D614EAB78A}"/>
              </a:ext>
            </a:extLst>
          </p:cNvPr>
          <p:cNvSpPr/>
          <p:nvPr/>
        </p:nvSpPr>
        <p:spPr bwMode="gray">
          <a:xfrm>
            <a:off x="6482687" y="1390299"/>
            <a:ext cx="232161" cy="3432589"/>
          </a:xfrm>
          <a:prstGeom prst="rightBrac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41234C1F-4C6A-954D-9703-6E1668C5DCC7}"/>
              </a:ext>
            </a:extLst>
          </p:cNvPr>
          <p:cNvSpPr txBox="1"/>
          <p:nvPr/>
        </p:nvSpPr>
        <p:spPr bwMode="gray">
          <a:xfrm>
            <a:off x="6776810" y="282478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s-AR" dirty="0"/>
              <a:t>CloudFormation</a:t>
            </a:r>
          </a:p>
          <a:p>
            <a:r>
              <a:rPr lang="es-AR" dirty="0"/>
              <a:t> template extract</a:t>
            </a:r>
          </a:p>
        </p:txBody>
      </p:sp>
    </p:spTree>
    <p:extLst>
      <p:ext uri="{BB962C8B-B14F-4D97-AF65-F5344CB8AC3E}">
        <p14:creationId xmlns:p14="http://schemas.microsoft.com/office/powerpoint/2010/main" val="193825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BA452DEF-DBE9-CB4F-8E4F-E00576C7FD8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How we are using it at Indystry System? - POD node lib - Finance loader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895B126B-2B2F-ED43-B262-E18AF444B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45B9BB5-61CF-3141-A26E-FD769B078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11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7660A01B-064F-5B4F-B7FA-F00FA8836D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32765" y="1732751"/>
            <a:ext cx="6905766" cy="4752000"/>
          </a:xfrm>
        </p:spPr>
        <p:txBody>
          <a:bodyPr/>
          <a:lstStyle/>
          <a:p>
            <a:r>
              <a:rPr lang="en" sz="1600" dirty="0"/>
              <a:t>The finance-config-loader (version 2.0.0 or higher) supports integration with AWS System Manager Parameter Store through the custom reader 'AWS_SSM'. This reader accepts the following parameters:</a:t>
            </a:r>
          </a:p>
          <a:p>
            <a:r>
              <a:rPr lang="en" sz="1600" dirty="0"/>
              <a:t>value</a:t>
            </a:r>
          </a:p>
          <a:p>
            <a:pPr lvl="1"/>
            <a:r>
              <a:rPr lang="en" sz="1600" dirty="0"/>
              <a:t>Description: path to the SSM Parameter store entry</a:t>
            </a:r>
          </a:p>
          <a:p>
            <a:pPr lvl="1"/>
            <a:r>
              <a:rPr lang="en" sz="1600" dirty="0"/>
              <a:t>Type: string</a:t>
            </a:r>
          </a:p>
          <a:p>
            <a:pPr lvl="1"/>
            <a:r>
              <a:rPr lang="en" sz="1600" dirty="0"/>
              <a:t>Required: yes</a:t>
            </a:r>
          </a:p>
          <a:p>
            <a:r>
              <a:rPr lang="en" sz="1600" dirty="0"/>
              <a:t>decrypt</a:t>
            </a:r>
          </a:p>
          <a:p>
            <a:pPr lvl="1"/>
            <a:r>
              <a:rPr lang="en" sz="1600" dirty="0"/>
              <a:t>Description: specifies if the SSM Parameter is a Secured String and needs to be decrypted</a:t>
            </a:r>
          </a:p>
          <a:p>
            <a:pPr lvl="1"/>
            <a:r>
              <a:rPr lang="en" sz="1600" dirty="0"/>
              <a:t>Required: no</a:t>
            </a:r>
          </a:p>
          <a:p>
            <a:pPr lvl="1"/>
            <a:r>
              <a:rPr lang="en" sz="1600" dirty="0"/>
              <a:t>Default Value: false</a:t>
            </a:r>
          </a:p>
          <a:p>
            <a:pPr lvl="1"/>
            <a:endParaRPr lang="en" sz="1600" dirty="0"/>
          </a:p>
          <a:p>
            <a:pPr marL="0" lvl="1" indent="0">
              <a:buNone/>
            </a:pPr>
            <a:r>
              <a:rPr lang="es-AR" sz="1600" dirty="0">
                <a:hlinkClick r:id="rId2"/>
              </a:rPr>
              <a:t>https://github.platforms.engineering/POD-Inc/pod-node-library/tree/develop/finance-config-loader</a:t>
            </a:r>
            <a:endParaRPr lang="en" sz="1600" dirty="0"/>
          </a:p>
          <a:p>
            <a:endParaRPr lang="es-AR" sz="1600" dirty="0"/>
          </a:p>
        </p:txBody>
      </p:sp>
      <p:pic>
        <p:nvPicPr>
          <p:cNvPr id="14" name="Marcador de posición de imagen 13" descr="Imagen que contiene biblioteca, interior, escena, edificio&#10;&#10;Descripción generada automáticamente">
            <a:extLst>
              <a:ext uri="{FF2B5EF4-FFF2-40B4-BE49-F238E27FC236}">
                <a16:creationId xmlns:a16="http://schemas.microsoft.com/office/drawing/2014/main" id="{1487CDE6-BDBB-AC43-8E2F-F5E2FB2F43C2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23908" r="23908"/>
          <a:stretch>
            <a:fillRect/>
          </a:stretch>
        </p:blipFill>
        <p:spPr/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F681A716-78B5-4E44-85BD-40F23CE63093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4" tooltip="https://en.wikipedia.org/wiki/File:Duke_Humfrey%27s_Library_Interior_5,_Bodleian_Library,_Oxford,_UK_-_Diliff.jpg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5" tooltip="https://creativecommons.org/licenses/by-sa/3.0/"/>
              </a:rPr>
              <a:t>CC BY-SA</a:t>
            </a:r>
            <a:endParaRPr lang="es-AR" sz="900"/>
          </a:p>
        </p:txBody>
      </p:sp>
    </p:spTree>
    <p:extLst>
      <p:ext uri="{BB962C8B-B14F-4D97-AF65-F5344CB8AC3E}">
        <p14:creationId xmlns:p14="http://schemas.microsoft.com/office/powerpoint/2010/main" val="211084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4B04195B-86F8-584A-9436-EDBAE309DDB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How we are using it at Indystry System? - POD node lib - Finance loader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3771ABC5-F52E-7B4F-85C9-D49EEE7D2F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7011F31-1109-7046-AC1F-C1920AC55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12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69A24C4-2253-FD47-86C7-AE2EC1290F71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2" tooltip="https://commons.wikimedia.org/wiki/File:Gears.JPG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3" tooltip="https://creativecommons.org/licenses/by-sa/3.0/"/>
              </a:rPr>
              <a:t>CC BY-SA</a:t>
            </a:r>
            <a:endParaRPr lang="es-AR" sz="900"/>
          </a:p>
        </p:txBody>
      </p:sp>
      <p:pic>
        <p:nvPicPr>
          <p:cNvPr id="23" name="Marcador de posición de imagen 22" descr="Imagen que contiene persona, edificio, hombre, de pie&#10;&#10;Descripción generada automáticamente">
            <a:extLst>
              <a:ext uri="{FF2B5EF4-FFF2-40B4-BE49-F238E27FC236}">
                <a16:creationId xmlns:a16="http://schemas.microsoft.com/office/drawing/2014/main" id="{58C0DBC6-E03B-AB47-8236-C7D27466A996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1037" r="11037"/>
          <a:stretch>
            <a:fillRect/>
          </a:stretch>
        </p:blipFill>
        <p:spPr/>
      </p:pic>
      <p:sp>
        <p:nvSpPr>
          <p:cNvPr id="24" name="CuadroTexto 23">
            <a:extLst>
              <a:ext uri="{FF2B5EF4-FFF2-40B4-BE49-F238E27FC236}">
                <a16:creationId xmlns:a16="http://schemas.microsoft.com/office/drawing/2014/main" id="{AE00D7FB-BA02-ED46-861A-2D58AE81E7B1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5" tooltip="https://commons.wikimedia.org/wiki/File:Seattle_-_Workers_with_Montlake_Bridge_gears,_1953.jpg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3" tooltip="https://creativecommons.org/licenses/by-sa/3.0/"/>
              </a:rPr>
              <a:t>CC BY-SA</a:t>
            </a:r>
            <a:endParaRPr lang="es-AR" sz="900"/>
          </a:p>
        </p:txBody>
      </p:sp>
      <p:pic>
        <p:nvPicPr>
          <p:cNvPr id="26" name="Imagen 25" descr="Imagen que contiene captura de pantalla&#10;&#10;Descripción generada automáticamente">
            <a:extLst>
              <a:ext uri="{FF2B5EF4-FFF2-40B4-BE49-F238E27FC236}">
                <a16:creationId xmlns:a16="http://schemas.microsoft.com/office/drawing/2014/main" id="{7875BC42-17DF-2F45-97EA-47117B8A0BB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4" t="6200" r="31077" b="4325"/>
          <a:stretch/>
        </p:blipFill>
        <p:spPr>
          <a:xfrm>
            <a:off x="1202319" y="1482487"/>
            <a:ext cx="5362255" cy="3065465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753EC967-5341-2341-B520-FA5D25AA6A6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16" t="12092" r="12049" b="11037"/>
          <a:stretch/>
        </p:blipFill>
        <p:spPr>
          <a:xfrm>
            <a:off x="523183" y="5625050"/>
            <a:ext cx="7438029" cy="1036348"/>
          </a:xfrm>
          <a:prstGeom prst="rect">
            <a:avLst/>
          </a:prstGeom>
        </p:spPr>
      </p:pic>
      <p:sp>
        <p:nvSpPr>
          <p:cNvPr id="31" name="Flecha a la derecha con bandas 30">
            <a:extLst>
              <a:ext uri="{FF2B5EF4-FFF2-40B4-BE49-F238E27FC236}">
                <a16:creationId xmlns:a16="http://schemas.microsoft.com/office/drawing/2014/main" id="{7D822BFE-32A3-D248-B7F8-14829AF07EFF}"/>
              </a:ext>
            </a:extLst>
          </p:cNvPr>
          <p:cNvSpPr/>
          <p:nvPr/>
        </p:nvSpPr>
        <p:spPr bwMode="gray">
          <a:xfrm rot="5400000">
            <a:off x="2879480" y="4652036"/>
            <a:ext cx="1651379" cy="808918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171C9794-0C61-5143-9CFF-E985DB65A16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26" t="21173" r="29783" b="24669"/>
          <a:stretch/>
        </p:blipFill>
        <p:spPr>
          <a:xfrm>
            <a:off x="588169" y="4767843"/>
            <a:ext cx="7573192" cy="433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10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2E492B55-83AE-E545-9D22-5DDEEF98D4A1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8749" r="18749"/>
          <a:stretch>
            <a:fillRect/>
          </a:stretch>
        </p:blipFill>
        <p:spPr/>
      </p:pic>
      <p:sp>
        <p:nvSpPr>
          <p:cNvPr id="3" name="Subtítulo 2">
            <a:extLst>
              <a:ext uri="{FF2B5EF4-FFF2-40B4-BE49-F238E27FC236}">
                <a16:creationId xmlns:a16="http://schemas.microsoft.com/office/drawing/2014/main" id="{F265D002-23C2-D94D-A01C-AAA593F667C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How we are using it at Indystry System? - POD node lib - Finance loader</a:t>
            </a:r>
          </a:p>
          <a:p>
            <a:endParaRPr lang="es-AR" dirty="0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2D7FD9CE-78C9-B644-9C5D-20A6E4DF8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8BBEBC2-6452-4D43-BD6B-3AF965135A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13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D155D808-A910-294F-A54C-C00D917A90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7107" y="3022032"/>
            <a:ext cx="6131835" cy="1577264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74699828-D1D7-C442-99F5-7EC2417FFA9C}"/>
              </a:ext>
            </a:extLst>
          </p:cNvPr>
          <p:cNvSpPr txBox="1"/>
          <p:nvPr/>
        </p:nvSpPr>
        <p:spPr bwMode="gray">
          <a:xfrm>
            <a:off x="1277925" y="2208472"/>
            <a:ext cx="7183687" cy="1220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AR" dirty="0"/>
              <a:t>Remeber to define the needed policies so your Lambda function has permission to read you SSM parameters ;)</a:t>
            </a:r>
          </a:p>
        </p:txBody>
      </p:sp>
    </p:spTree>
    <p:extLst>
      <p:ext uri="{BB962C8B-B14F-4D97-AF65-F5344CB8AC3E}">
        <p14:creationId xmlns:p14="http://schemas.microsoft.com/office/powerpoint/2010/main" val="1737211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6B779C1A-5CB7-D640-96B6-1ED51618B09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Wanna access SSM on a Lambda Function? Some considerations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4E6227CF-1100-084B-8AC6-1D1212EC1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61EC1B1-1A56-AE42-91C1-8B2EF3B8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14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79F2290-D1FE-F14E-9B79-704BEEAF32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AR" b="1" dirty="0"/>
              <a:t>I</a:t>
            </a:r>
            <a:r>
              <a:rPr lang="es-AR" dirty="0"/>
              <a:t>f your lambda is running inside a VPC, then the lambda will not have access to internet and will not be able to fetch SSM Parameter Store.</a:t>
            </a:r>
          </a:p>
          <a:p>
            <a:pPr marL="342900" indent="-342900">
              <a:buFont typeface="+mj-lt"/>
              <a:buAutoNum type="alphaLcParenR"/>
            </a:pPr>
            <a:r>
              <a:rPr lang="en" dirty="0"/>
              <a:t>Open a NAT gateway on the VPC to enable internet traffic (not that secure)</a:t>
            </a:r>
          </a:p>
          <a:p>
            <a:endParaRPr lang="es-AR" b="1" dirty="0"/>
          </a:p>
          <a:p>
            <a:br>
              <a:rPr lang="es-AR" dirty="0"/>
            </a:br>
            <a:endParaRPr lang="es-AR" b="1" dirty="0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697A26CA-E0F5-0648-B0BA-E8C775980E9D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2" tooltip="https://en.wikipedia.org/wiki/File:Gate_latch.jpg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3" tooltip="https://creativecommons.org/licenses/by-sa/3.0/"/>
              </a:rPr>
              <a:t>CC BY-SA</a:t>
            </a:r>
            <a:endParaRPr lang="es-AR" sz="900"/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08A2E448-6E1F-D84F-B484-3DD4CF14B644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4" tooltip="https://www.diggita.it/story.php?title=Cosa_significa_sognare_un_cancello_che_si_apre_o_si_chiude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5" tooltip="https://creativecommons.org/licenses/by/3.0/"/>
              </a:rPr>
              <a:t>CC BY</a:t>
            </a:r>
            <a:endParaRPr lang="es-AR" sz="900"/>
          </a:p>
        </p:txBody>
      </p:sp>
      <p:pic>
        <p:nvPicPr>
          <p:cNvPr id="47" name="Marcador de posición de imagen 46" descr="Imagen que contiene imágenes prediseñadas&#10;&#10;Descripción generada automáticamente">
            <a:extLst>
              <a:ext uri="{FF2B5EF4-FFF2-40B4-BE49-F238E27FC236}">
                <a16:creationId xmlns:a16="http://schemas.microsoft.com/office/drawing/2014/main" id="{20A1E84C-A2AD-A344-9994-A919E98232A3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l="30468" r="30468"/>
          <a:stretch>
            <a:fillRect/>
          </a:stretch>
        </p:blipFill>
        <p:spPr/>
      </p:pic>
      <p:sp>
        <p:nvSpPr>
          <p:cNvPr id="48" name="CuadroTexto 47">
            <a:extLst>
              <a:ext uri="{FF2B5EF4-FFF2-40B4-BE49-F238E27FC236}">
                <a16:creationId xmlns:a16="http://schemas.microsoft.com/office/drawing/2014/main" id="{60CB47E4-9FCF-5449-B4FA-C3765F52CACA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7" tooltip="https://en.m.wikipedia.org/wiki/File:AWS_Simple_Icons_Virtual_Private_Cloud.svg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3" tooltip="https://creativecommons.org/licenses/by-sa/3.0/"/>
              </a:rPr>
              <a:t>CC BY-SA</a:t>
            </a:r>
            <a:endParaRPr lang="es-AR" sz="900"/>
          </a:p>
        </p:txBody>
      </p:sp>
      <p:pic>
        <p:nvPicPr>
          <p:cNvPr id="53" name="Imagen 52">
            <a:extLst>
              <a:ext uri="{FF2B5EF4-FFF2-40B4-BE49-F238E27FC236}">
                <a16:creationId xmlns:a16="http://schemas.microsoft.com/office/drawing/2014/main" id="{CF1DC678-BE2D-6549-A5EF-303B7377B6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7211616" y="2840535"/>
            <a:ext cx="389732" cy="337768"/>
          </a:xfrm>
          <a:prstGeom prst="rect">
            <a:avLst/>
          </a:prstGeom>
        </p:spPr>
      </p:pic>
      <p:pic>
        <p:nvPicPr>
          <p:cNvPr id="56" name="Imagen 55" descr="Imagen que contiene texto&#10;&#10;Descripción generada automáticamente">
            <a:extLst>
              <a:ext uri="{FF2B5EF4-FFF2-40B4-BE49-F238E27FC236}">
                <a16:creationId xmlns:a16="http://schemas.microsoft.com/office/drawing/2014/main" id="{254CA3A6-AA30-CF45-9366-27F0F97F1BA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678" y="3550662"/>
            <a:ext cx="49657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30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6B779C1A-5CB7-D640-96B6-1ED51618B09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Wanna access SSM on a Lambda Function? Some considerations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4E6227CF-1100-084B-8AC6-1D1212EC1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61EC1B1-1A56-AE42-91C1-8B2EF3B8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15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79F2290-D1FE-F14E-9B79-704BEEAF32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AR" b="1" dirty="0"/>
              <a:t>I</a:t>
            </a:r>
            <a:r>
              <a:rPr lang="es-AR" dirty="0"/>
              <a:t>f your lambda is running inside a VPC, then the lambda will not have access to internet and will not be able to fetch SSM Parameter Store.</a:t>
            </a:r>
          </a:p>
          <a:p>
            <a:pPr marL="342900" indent="-342900">
              <a:buFont typeface="+mj-lt"/>
              <a:buAutoNum type="alphaLcParenR"/>
            </a:pPr>
            <a:r>
              <a:rPr lang="es-AR" dirty="0"/>
              <a:t>Creating VPC EndPoints for Systems Manager</a:t>
            </a:r>
          </a:p>
          <a:p>
            <a:pPr marL="342900" indent="-342900">
              <a:buFont typeface="+mj-lt"/>
              <a:buAutoNum type="alphaLcParenR"/>
            </a:pPr>
            <a:endParaRPr lang="es-AR" b="1" dirty="0"/>
          </a:p>
          <a:p>
            <a:br>
              <a:rPr lang="es-AR" dirty="0"/>
            </a:br>
            <a:endParaRPr lang="es-AR" b="1" dirty="0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697A26CA-E0F5-0648-B0BA-E8C775980E9D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2" tooltip="https://en.wikipedia.org/wiki/File:Gate_latch.jpg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3" tooltip="https://creativecommons.org/licenses/by-sa/3.0/"/>
              </a:rPr>
              <a:t>CC BY-SA</a:t>
            </a:r>
            <a:endParaRPr lang="es-AR" sz="900"/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08A2E448-6E1F-D84F-B484-3DD4CF14B644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4" tooltip="https://www.diggita.it/story.php?title=Cosa_significa_sognare_un_cancello_che_si_apre_o_si_chiude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5" tooltip="https://creativecommons.org/licenses/by/3.0/"/>
              </a:rPr>
              <a:t>CC BY</a:t>
            </a:r>
            <a:endParaRPr lang="es-AR" sz="900"/>
          </a:p>
        </p:txBody>
      </p:sp>
      <p:pic>
        <p:nvPicPr>
          <p:cNvPr id="47" name="Marcador de posición de imagen 46" descr="Imagen que contiene imágenes prediseñadas&#10;&#10;Descripción generada automáticamente">
            <a:extLst>
              <a:ext uri="{FF2B5EF4-FFF2-40B4-BE49-F238E27FC236}">
                <a16:creationId xmlns:a16="http://schemas.microsoft.com/office/drawing/2014/main" id="{20A1E84C-A2AD-A344-9994-A919E98232A3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l="30468" r="30468"/>
          <a:stretch>
            <a:fillRect/>
          </a:stretch>
        </p:blipFill>
        <p:spPr/>
      </p:pic>
      <p:sp>
        <p:nvSpPr>
          <p:cNvPr id="48" name="CuadroTexto 47">
            <a:extLst>
              <a:ext uri="{FF2B5EF4-FFF2-40B4-BE49-F238E27FC236}">
                <a16:creationId xmlns:a16="http://schemas.microsoft.com/office/drawing/2014/main" id="{60CB47E4-9FCF-5449-B4FA-C3765F52CACA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7" tooltip="https://en.m.wikipedia.org/wiki/File:AWS_Simple_Icons_Virtual_Private_Cloud.svg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3" tooltip="https://creativecommons.org/licenses/by-sa/3.0/"/>
              </a:rPr>
              <a:t>CC BY-SA</a:t>
            </a:r>
            <a:endParaRPr lang="es-AR" sz="900"/>
          </a:p>
        </p:txBody>
      </p:sp>
      <p:pic>
        <p:nvPicPr>
          <p:cNvPr id="50" name="Imagen 49" descr="Imagen que contiene señal, objeto, verde, frente&#10;&#10;Descripción generada automáticamente">
            <a:extLst>
              <a:ext uri="{FF2B5EF4-FFF2-40B4-BE49-F238E27FC236}">
                <a16:creationId xmlns:a16="http://schemas.microsoft.com/office/drawing/2014/main" id="{6293221D-BFE3-9C43-A1A7-B113254D98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7005010" y="2770113"/>
            <a:ext cx="368873" cy="368873"/>
          </a:xfrm>
          <a:prstGeom prst="rect">
            <a:avLst/>
          </a:prstGeom>
        </p:spPr>
      </p:pic>
      <p:pic>
        <p:nvPicPr>
          <p:cNvPr id="5" name="Imagen 4" descr="Imagen que contiene texto&#10;&#10;Descripción generada automáticamente">
            <a:extLst>
              <a:ext uri="{FF2B5EF4-FFF2-40B4-BE49-F238E27FC236}">
                <a16:creationId xmlns:a16="http://schemas.microsoft.com/office/drawing/2014/main" id="{CD087C48-D0BB-B448-A209-EE2D379A27B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9310" y="3421762"/>
            <a:ext cx="4965700" cy="311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428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3CFEE804-1B43-F746-9BF3-4531F3BEA79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" dirty="0"/>
              <a:t>Why?</a:t>
            </a:r>
            <a:endParaRPr lang="es-AR" dirty="0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8FE938E7-8D74-AE4A-858A-639205AF41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ecrets Manager</a:t>
            </a:r>
            <a:endParaRPr lang="es-AR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60F9A1-82FF-884E-A60A-19A0E9933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16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A92B1219-34AA-F24E-AC88-580E9C77A9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49415" y="1637731"/>
            <a:ext cx="6046787" cy="484702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enables you to easily rotate, manage, and retrieve secrets such us:</a:t>
            </a:r>
          </a:p>
          <a:p>
            <a:pPr marL="555748" lvl="1" indent="-285750">
              <a:buFont typeface="Arial" panose="020B0604020202020204" pitchFamily="34" charset="0"/>
              <a:buChar char="•"/>
            </a:pPr>
            <a:r>
              <a:rPr lang="es-AR" sz="1600" dirty="0"/>
              <a:t>D</a:t>
            </a:r>
            <a:r>
              <a:rPr lang="en" sz="1600" dirty="0" err="1"/>
              <a:t>atabase</a:t>
            </a:r>
            <a:r>
              <a:rPr lang="en" sz="1600" dirty="0"/>
              <a:t> credentials</a:t>
            </a:r>
          </a:p>
          <a:p>
            <a:pPr marL="555748" lvl="1" indent="-285750">
              <a:buFont typeface="Arial" panose="020B0604020202020204" pitchFamily="34" charset="0"/>
              <a:buChar char="•"/>
            </a:pPr>
            <a:r>
              <a:rPr lang="en" sz="1600" dirty="0"/>
              <a:t>API keys</a:t>
            </a:r>
          </a:p>
          <a:p>
            <a:pPr marL="555748" lvl="1" indent="-285750">
              <a:buFont typeface="Arial" panose="020B0604020202020204" pitchFamily="34" charset="0"/>
              <a:buChar char="•"/>
            </a:pPr>
            <a:r>
              <a:rPr lang="es-ES" sz="1600" dirty="0"/>
              <a:t>O</a:t>
            </a:r>
            <a:r>
              <a:rPr lang="en" sz="1600" dirty="0" err="1"/>
              <a:t>thers</a:t>
            </a:r>
            <a:endParaRPr lang="es-AR" sz="1600" dirty="0"/>
          </a:p>
        </p:txBody>
      </p:sp>
      <p:pic>
        <p:nvPicPr>
          <p:cNvPr id="5" name="Marcador de posición de imagen 4">
            <a:extLst>
              <a:ext uri="{FF2B5EF4-FFF2-40B4-BE49-F238E27FC236}">
                <a16:creationId xmlns:a16="http://schemas.microsoft.com/office/drawing/2014/main" id="{A56759EE-B3E9-D34E-8D6E-FB3B4D5A93A2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29166" r="29166"/>
          <a:stretch>
            <a:fillRect/>
          </a:stretch>
        </p:blipFill>
        <p:spPr/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184C1D67-A98A-CB43-BA0F-781680A8CCC0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3" tooltip="http://corporateeurope.org/power-lobbies/2016/03/trade-secrets-protection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4" tooltip="https://creativecommons.org/licenses/by-nc-sa/3.0/"/>
              </a:rPr>
              <a:t>CC BY-SA-NC</a:t>
            </a:r>
            <a:endParaRPr lang="es-AR" sz="900"/>
          </a:p>
        </p:txBody>
      </p:sp>
    </p:spTree>
    <p:extLst>
      <p:ext uri="{BB962C8B-B14F-4D97-AF65-F5344CB8AC3E}">
        <p14:creationId xmlns:p14="http://schemas.microsoft.com/office/powerpoint/2010/main" val="291842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3CFEE804-1B43-F746-9BF3-4531F3BEA79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What benefits are offered by </a:t>
            </a:r>
            <a:r>
              <a:rPr lang="en" dirty="0"/>
              <a:t>Secrets Manager</a:t>
            </a:r>
            <a:endParaRPr lang="es-AR" dirty="0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8FE938E7-8D74-AE4A-858A-639205AF41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ecrets Manager</a:t>
            </a:r>
            <a:endParaRPr lang="es-AR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60F9A1-82FF-884E-A60A-19A0E9933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17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A92B1219-34AA-F24E-AC88-580E9C77A9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49415" y="1637731"/>
            <a:ext cx="6046787" cy="4847020"/>
          </a:xfrm>
        </p:spPr>
        <p:txBody>
          <a:bodyPr/>
          <a:lstStyle/>
          <a:p>
            <a:r>
              <a:rPr lang="en" sz="1600" dirty="0"/>
              <a:t>To list the most important ones (at least for me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1600" dirty="0"/>
              <a:t>No servers to man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/>
              <a:t>Rotate secrets saf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Manage access with fine-grained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Secure and audit secrets centr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/>
              <a:t>Pay as you g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AR" dirty="0"/>
          </a:p>
        </p:txBody>
      </p:sp>
      <p:pic>
        <p:nvPicPr>
          <p:cNvPr id="10" name="Marcador de posición de imagen 9">
            <a:extLst>
              <a:ext uri="{FF2B5EF4-FFF2-40B4-BE49-F238E27FC236}">
                <a16:creationId xmlns:a16="http://schemas.microsoft.com/office/drawing/2014/main" id="{D9CD65C0-9A8C-0F45-9DC8-7A8140D2DFD7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8749" r="1874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52667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79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18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9" name="Subtítulo 8">
            <a:extLst>
              <a:ext uri="{FF2B5EF4-FFF2-40B4-BE49-F238E27FC236}">
                <a16:creationId xmlns:a16="http://schemas.microsoft.com/office/drawing/2014/main" id="{E5A04C5B-BCDD-1F4D-9D16-02A7FB03365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A very quick demo? Not today… may be next time</a:t>
            </a:r>
          </a:p>
        </p:txBody>
      </p:sp>
      <p:sp>
        <p:nvSpPr>
          <p:cNvPr id="54" name="Título 53">
            <a:extLst>
              <a:ext uri="{FF2B5EF4-FFF2-40B4-BE49-F238E27FC236}">
                <a16:creationId xmlns:a16="http://schemas.microsoft.com/office/drawing/2014/main" id="{58569B84-E436-ED44-AADE-F3C617FFB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ecrets Manager</a:t>
            </a:r>
            <a:endParaRPr lang="es-AR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A9EE324-DD77-764B-83E2-A4FC8381344D}"/>
              </a:ext>
            </a:extLst>
          </p:cNvPr>
          <p:cNvSpPr txBox="1"/>
          <p:nvPr/>
        </p:nvSpPr>
        <p:spPr bwMode="gray">
          <a:xfrm>
            <a:off x="1649414" y="2019869"/>
            <a:ext cx="8613701" cy="31253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/>
              <a:t>We have been working on POC for Industry System in order to replace Vault with SSM Secrets Manager to store DB Credentials (or any secret that needs to be rotat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A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/>
              <a:t>We have a working POC with integration with a lambda with SSM Secrets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A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/>
              <a:t>We have working POC to configure rotation for DB credentials covering</a:t>
            </a:r>
          </a:p>
          <a:p>
            <a:pPr marL="742940" lvl="1" indent="-285750">
              <a:buFont typeface="Arial" panose="020B0604020202020204" pitchFamily="34" charset="0"/>
              <a:buChar char="•"/>
            </a:pPr>
            <a:r>
              <a:rPr lang="es-AR" dirty="0"/>
              <a:t>Single User Schema</a:t>
            </a:r>
          </a:p>
          <a:p>
            <a:pPr marL="742940" lvl="1" indent="-285750">
              <a:buFont typeface="Arial" panose="020B0604020202020204" pitchFamily="34" charset="0"/>
              <a:buChar char="•"/>
            </a:pPr>
            <a:r>
              <a:rPr lang="es-AR" dirty="0"/>
              <a:t>Multi User Schema</a:t>
            </a:r>
          </a:p>
        </p:txBody>
      </p:sp>
    </p:spTree>
    <p:extLst>
      <p:ext uri="{BB962C8B-B14F-4D97-AF65-F5344CB8AC3E}">
        <p14:creationId xmlns:p14="http://schemas.microsoft.com/office/powerpoint/2010/main" val="397233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794055"/>
              </p:ext>
            </p:extLst>
          </p:nvPr>
        </p:nvGraphicFramePr>
        <p:xfrm>
          <a:off x="1585" y="1583"/>
          <a:ext cx="1586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5" y="1583"/>
                        <a:ext cx="1586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502" cy="1583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6198">
              <a:spcBef>
                <a:spcPct val="0"/>
              </a:spcBef>
              <a:spcAft>
                <a:spcPct val="0"/>
              </a:spcAft>
            </a:pPr>
            <a:endParaRPr lang="en-US" sz="3600" i="1" dirty="0">
              <a:solidFill>
                <a:srgbClr val="FFFFFF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5294677" y="4051189"/>
            <a:ext cx="4500000" cy="966327"/>
          </a:xfrm>
        </p:spPr>
        <p:txBody>
          <a:bodyPr anchor="ctr"/>
          <a:lstStyle/>
          <a:p>
            <a:pPr algn="ctr"/>
            <a:r>
              <a:rPr lang="en-US" dirty="0"/>
              <a:t>Axel </a:t>
            </a:r>
            <a:r>
              <a:rPr lang="en-US" dirty="0" err="1"/>
              <a:t>Freiria</a:t>
            </a:r>
            <a:endParaRPr lang="en-US" dirty="0"/>
          </a:p>
          <a:p>
            <a:pPr algn="ctr"/>
            <a:r>
              <a:rPr lang="en-US" sz="1600" b="0" dirty="0" err="1"/>
              <a:t>Fullstack</a:t>
            </a:r>
            <a:r>
              <a:rPr lang="en-US" sz="1600" b="0" dirty="0"/>
              <a:t> Dev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10157805" y="6409852"/>
            <a:ext cx="1720342" cy="4481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Subtitle 2"/>
          <p:cNvSpPr txBox="1">
            <a:spLocks/>
          </p:cNvSpPr>
          <p:nvPr/>
        </p:nvSpPr>
        <p:spPr bwMode="black">
          <a:xfrm>
            <a:off x="6708745" y="2450772"/>
            <a:ext cx="4782670" cy="125594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913451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3451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3451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3451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3451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3451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3451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3451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3451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3200" dirty="0" err="1"/>
              <a:t>Thanks</a:t>
            </a:r>
            <a:r>
              <a:rPr lang="de-DE" sz="3200" dirty="0"/>
              <a:t>!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28BDD7A0-C949-1749-9F6D-C200F276363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33" t="5115" r="1740" b="41864"/>
          <a:stretch/>
        </p:blipFill>
        <p:spPr>
          <a:xfrm>
            <a:off x="8558886" y="3362248"/>
            <a:ext cx="2111582" cy="2111582"/>
          </a:xfrm>
          <a:prstGeom prst="rect">
            <a:avLst/>
          </a:prstGeom>
          <a:effectLst>
            <a:softEdge rad="850900"/>
          </a:effectLst>
        </p:spPr>
      </p:pic>
      <p:sp>
        <p:nvSpPr>
          <p:cNvPr id="16" name="TextBox 8">
            <a:extLst>
              <a:ext uri="{FF2B5EF4-FFF2-40B4-BE49-F238E27FC236}">
                <a16:creationId xmlns:a16="http://schemas.microsoft.com/office/drawing/2014/main" id="{F4EA0984-7091-9947-9C52-527842245F2C}"/>
              </a:ext>
            </a:extLst>
          </p:cNvPr>
          <p:cNvSpPr txBox="1"/>
          <p:nvPr/>
        </p:nvSpPr>
        <p:spPr bwMode="gray">
          <a:xfrm>
            <a:off x="6914711" y="5093381"/>
            <a:ext cx="3479418" cy="635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72000" rIns="0" bIns="72000" rtlCol="0" anchor="t" anchorCtr="0">
            <a:noAutofit/>
          </a:bodyPr>
          <a:lstStyle/>
          <a:p>
            <a:pPr>
              <a:spcBef>
                <a:spcPct val="40000"/>
              </a:spcBef>
              <a:spcAft>
                <a:spcPct val="0"/>
              </a:spcAft>
            </a:pPr>
            <a:r>
              <a:rPr lang="en-US" sz="1400" dirty="0">
                <a:solidFill>
                  <a:schemeClr val="bg1"/>
                </a:solidFill>
                <a:latin typeface="Arial"/>
              </a:rPr>
              <a:t>Contact </a:t>
            </a:r>
            <a:r>
              <a:rPr lang="en-US" sz="1400" dirty="0" err="1">
                <a:solidFill>
                  <a:schemeClr val="bg1"/>
                </a:solidFill>
                <a:latin typeface="Arial"/>
              </a:rPr>
              <a:t>axel.freiria@bayer.com</a:t>
            </a:r>
            <a:endParaRPr lang="en-US" sz="14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FABC7F8-D30D-554B-8141-990A3CC8E56E}"/>
              </a:ext>
            </a:extLst>
          </p:cNvPr>
          <p:cNvSpPr txBox="1"/>
          <p:nvPr/>
        </p:nvSpPr>
        <p:spPr bwMode="gray">
          <a:xfrm>
            <a:off x="1364776" y="696036"/>
            <a:ext cx="10017457" cy="23474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AR" dirty="0">
                <a:solidFill>
                  <a:schemeClr val="bg1">
                    <a:lumMod val="85000"/>
                  </a:schemeClr>
                </a:solidFill>
              </a:rPr>
              <a:t>Useful links</a:t>
            </a:r>
          </a:p>
          <a:p>
            <a:endParaRPr lang="es-AR" dirty="0">
              <a:solidFill>
                <a:schemeClr val="bg1">
                  <a:lumMod val="85000"/>
                </a:schemeClr>
              </a:solidFill>
            </a:endParaRPr>
          </a:p>
          <a:p>
            <a:r>
              <a:rPr lang="es-AR" dirty="0">
                <a:solidFill>
                  <a:schemeClr val="bg1">
                    <a:lumMod val="8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aws.amazon.com/systems-manager/latest/userguide/systems-manager-parameter-store.html</a:t>
            </a:r>
            <a:endParaRPr lang="es-AR" dirty="0">
              <a:solidFill>
                <a:schemeClr val="bg1">
                  <a:lumMod val="85000"/>
                </a:schemeClr>
              </a:solidFill>
            </a:endParaRPr>
          </a:p>
          <a:p>
            <a:endParaRPr lang="es-AR" dirty="0">
              <a:solidFill>
                <a:schemeClr val="bg1">
                  <a:lumMod val="85000"/>
                </a:schemeClr>
              </a:solidFill>
            </a:endParaRPr>
          </a:p>
          <a:p>
            <a:r>
              <a:rPr lang="es-AR" dirty="0">
                <a:solidFill>
                  <a:schemeClr val="bg1">
                    <a:lumMod val="85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aws.amazon.com/systems-manager/latest/userguide/sysman-paramstore-cwe.html</a:t>
            </a:r>
            <a:endParaRPr lang="es-AR" dirty="0">
              <a:solidFill>
                <a:schemeClr val="bg1">
                  <a:lumMod val="85000"/>
                </a:schemeClr>
              </a:solidFill>
            </a:endParaRPr>
          </a:p>
          <a:p>
            <a:endParaRPr lang="es-AR" dirty="0">
              <a:solidFill>
                <a:schemeClr val="bg1">
                  <a:lumMod val="85000"/>
                </a:schemeClr>
              </a:solidFill>
            </a:endParaRPr>
          </a:p>
          <a:p>
            <a:r>
              <a:rPr lang="es-AR" dirty="0">
                <a:solidFill>
                  <a:schemeClr val="bg1">
                    <a:lumMod val="85000"/>
                  </a:schemeClr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aws.amazon.com/secretsmanager/latest/userguide/intro.html</a:t>
            </a:r>
            <a:endParaRPr lang="es-A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DF3046E-88F9-0343-9ED5-35F4AAC81BE5}"/>
              </a:ext>
            </a:extLst>
          </p:cNvPr>
          <p:cNvSpPr txBox="1"/>
          <p:nvPr/>
        </p:nvSpPr>
        <p:spPr bwMode="gray">
          <a:xfrm>
            <a:off x="12190413" y="479036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s-AR" dirty="0" err="1"/>
          </a:p>
        </p:txBody>
      </p:sp>
    </p:spTree>
    <p:extLst>
      <p:ext uri="{BB962C8B-B14F-4D97-AF65-F5344CB8AC3E}">
        <p14:creationId xmlns:p14="http://schemas.microsoft.com/office/powerpoint/2010/main" val="357587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462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2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gray">
          <a:xfrm>
            <a:off x="0" y="2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94">
              <a:spcBef>
                <a:spcPct val="0"/>
              </a:spcBef>
              <a:spcAft>
                <a:spcPct val="0"/>
              </a:spcAft>
            </a:pPr>
            <a:endParaRPr lang="en-US" sz="2800" dirty="0">
              <a:solidFill>
                <a:srgbClr val="FFFFFF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b="1" dirty="0"/>
              <a:t>Why Centralized Configuration?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2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23" name="Marcador de texto 22">
            <a:extLst>
              <a:ext uri="{FF2B5EF4-FFF2-40B4-BE49-F238E27FC236}">
                <a16:creationId xmlns:a16="http://schemas.microsoft.com/office/drawing/2014/main" id="{C10259ED-7FDA-224A-9AF2-F0DE69AFA6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47971" y="1732751"/>
            <a:ext cx="6595277" cy="4752000"/>
          </a:xfrm>
        </p:spPr>
        <p:txBody>
          <a:bodyPr/>
          <a:lstStyle/>
          <a:p>
            <a:r>
              <a:rPr lang="en" b="1" dirty="0"/>
              <a:t>If maintaining a single configuration for a large application is difficult, imagine maintaining configurations for hundreds of microservices in different environments.</a:t>
            </a:r>
          </a:p>
          <a:p>
            <a:pPr marL="342900" indent="-342900">
              <a:buFont typeface="+mj-lt"/>
              <a:buAutoNum type="arabicPeriod"/>
            </a:pPr>
            <a:r>
              <a:rPr lang="en" sz="1600" dirty="0"/>
              <a:t>Config data might be hard-coded in plaintext in the source code or accessed from config files (or other locations) manually. This is not scalable, and more important, from a security standpoint, not recommended.</a:t>
            </a:r>
          </a:p>
          <a:p>
            <a:pPr marL="342900" indent="-342900">
              <a:buFont typeface="+mj-lt"/>
              <a:buAutoNum type="arabicPeriod"/>
            </a:pPr>
            <a:r>
              <a:rPr lang="en" sz="1600" dirty="0"/>
              <a:t>Providing granular access control is difficult, especially if the parameters are used in customer-facing or production infrastructure.</a:t>
            </a:r>
          </a:p>
          <a:p>
            <a:pPr marL="342900" indent="-342900">
              <a:buFont typeface="+mj-lt"/>
              <a:buAutoNum type="arabicPeriod"/>
            </a:pPr>
            <a:r>
              <a:rPr lang="en" sz="1600" dirty="0"/>
              <a:t>Data is sometimes stored outside your environment crossing trust boundaries, and requiring more tools to manage.</a:t>
            </a:r>
            <a:endParaRPr lang="e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AR" dirty="0"/>
          </a:p>
        </p:txBody>
      </p:sp>
      <p:pic>
        <p:nvPicPr>
          <p:cNvPr id="51" name="Marcador de posición de imagen 50" descr="Imagen que contiene exterior, calle&#10;&#10;Descripción generada automáticamente">
            <a:extLst>
              <a:ext uri="{FF2B5EF4-FFF2-40B4-BE49-F238E27FC236}">
                <a16:creationId xmlns:a16="http://schemas.microsoft.com/office/drawing/2014/main" id="{05DEDD35-189C-B347-A38C-172A3AEC0D00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rcRect l="18749" r="18749"/>
          <a:stretch>
            <a:fillRect/>
          </a:stretch>
        </p:blipFill>
        <p:spPr>
          <a:xfrm>
            <a:off x="7885113" y="0"/>
            <a:ext cx="4305300" cy="6888163"/>
          </a:xfrm>
        </p:spPr>
      </p:pic>
    </p:spTree>
    <p:extLst>
      <p:ext uri="{BB962C8B-B14F-4D97-AF65-F5344CB8AC3E}">
        <p14:creationId xmlns:p14="http://schemas.microsoft.com/office/powerpoint/2010/main" val="424327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3CFEE804-1B43-F746-9BF3-4531F3BEA79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What kind of stuff we could store centralized?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8FE938E7-8D74-AE4A-858A-639205AF41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60F9A1-82FF-884E-A60A-19A0E9933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3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A92B1219-34AA-F24E-AC88-580E9C77A9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" dirty="0"/>
              <a:t>To list som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Infra config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Application configur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Database configur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Communication Channel Configuration - queues and other infrastruc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URLs of other microservices to talk 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Any kind of secrets</a:t>
            </a:r>
          </a:p>
          <a:p>
            <a:endParaRPr lang="es-AR" dirty="0"/>
          </a:p>
        </p:txBody>
      </p:sp>
      <p:pic>
        <p:nvPicPr>
          <p:cNvPr id="19" name="Marcador de posición de imagen 18">
            <a:extLst>
              <a:ext uri="{FF2B5EF4-FFF2-40B4-BE49-F238E27FC236}">
                <a16:creationId xmlns:a16="http://schemas.microsoft.com/office/drawing/2014/main" id="{647A8C03-99F3-0A4F-B911-1901A4B0FFA0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8749" r="1874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1349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3CFEE804-1B43-F746-9BF3-4531F3BEA79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What benefits are offered by </a:t>
            </a:r>
            <a:r>
              <a:rPr lang="en" dirty="0"/>
              <a:t>Parameter Store</a:t>
            </a:r>
            <a:endParaRPr lang="es-AR" dirty="0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8FE938E7-8D74-AE4A-858A-639205AF41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60F9A1-82FF-884E-A60A-19A0E9933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4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A92B1219-34AA-F24E-AC88-580E9C77A9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49415" y="1637731"/>
            <a:ext cx="6046787" cy="4847020"/>
          </a:xfrm>
        </p:spPr>
        <p:txBody>
          <a:bodyPr/>
          <a:lstStyle/>
          <a:p>
            <a:r>
              <a:rPr lang="en" sz="1600" dirty="0"/>
              <a:t>To list the most important ones (at least for me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1400" dirty="0"/>
              <a:t>No servers to man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1400" dirty="0"/>
              <a:t>Use a secure, scalable, hosted secrets management service with no servers to man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1400" dirty="0"/>
              <a:t>Store configuration data and secure strings in hierarchies and track vers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1400" dirty="0"/>
              <a:t>Improve your security posture by separating your data from your c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1400" dirty="0"/>
              <a:t>Control and audit access at granular leve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1400" dirty="0"/>
              <a:t>Configure change notifications and trigger automated actions for both parameters and parameter polic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1400" dirty="0"/>
              <a:t>Tag parameters individu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1400" dirty="0"/>
              <a:t>Out of the box integration with other AWS services</a:t>
            </a:r>
            <a:endParaRPr lang="es-AR" sz="1400" dirty="0"/>
          </a:p>
        </p:txBody>
      </p:sp>
      <p:pic>
        <p:nvPicPr>
          <p:cNvPr id="10" name="Marcador de posición de imagen 9">
            <a:extLst>
              <a:ext uri="{FF2B5EF4-FFF2-40B4-BE49-F238E27FC236}">
                <a16:creationId xmlns:a16="http://schemas.microsoft.com/office/drawing/2014/main" id="{D9CD65C0-9A8C-0F45-9DC8-7A8140D2DFD7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8749" r="1874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72388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3CFEE804-1B43-F746-9BF3-4531F3BEA79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" dirty="0"/>
              <a:t>Different types of Systems Manager parameters</a:t>
            </a:r>
            <a:endParaRPr lang="es-AR" dirty="0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8FE938E7-8D74-AE4A-858A-639205AF41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60F9A1-82FF-884E-A60A-19A0E9933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5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A92B1219-34AA-F24E-AC88-580E9C77A9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49415" y="1637731"/>
            <a:ext cx="6046787" cy="484702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You can store data such as passwords, database strings, and license codes as parameter values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You could store data as</a:t>
            </a:r>
          </a:p>
          <a:p>
            <a:pPr marL="555748" lvl="1" indent="-285750">
              <a:buFont typeface="Arial" panose="020B0604020202020204" pitchFamily="34" charset="0"/>
              <a:buChar char="•"/>
            </a:pPr>
            <a:r>
              <a:rPr lang="en" dirty="0"/>
              <a:t>String</a:t>
            </a:r>
          </a:p>
          <a:p>
            <a:pPr marL="555748" lvl="1" indent="-285750">
              <a:buFont typeface="Arial" panose="020B0604020202020204" pitchFamily="34" charset="0"/>
              <a:buChar char="•"/>
            </a:pPr>
            <a:r>
              <a:rPr lang="en" dirty="0"/>
              <a:t>String List</a:t>
            </a:r>
          </a:p>
          <a:p>
            <a:pPr marL="555748" lvl="1" indent="-285750">
              <a:buFont typeface="Arial" panose="020B0604020202020204" pitchFamily="34" charset="0"/>
              <a:buChar char="•"/>
            </a:pPr>
            <a:r>
              <a:rPr lang="en" dirty="0"/>
              <a:t>Secured St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dirty="0"/>
              <a:t>You can reference Systems Manager parameters in your scripts, commands, SSM documents, and configuration and automation workflows.</a:t>
            </a:r>
            <a:endParaRPr lang="es-AR" sz="1600" dirty="0"/>
          </a:p>
        </p:txBody>
      </p:sp>
      <p:pic>
        <p:nvPicPr>
          <p:cNvPr id="27" name="Marcador de posición de imagen 26" descr="Imagen que contiene edificio, interior&#10;&#10;Descripción generada automáticamente">
            <a:extLst>
              <a:ext uri="{FF2B5EF4-FFF2-40B4-BE49-F238E27FC236}">
                <a16:creationId xmlns:a16="http://schemas.microsoft.com/office/drawing/2014/main" id="{0B95F860-E809-3E49-9BBC-FCBBCB7D92F8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29857" r="29857"/>
          <a:stretch>
            <a:fillRect/>
          </a:stretch>
        </p:blipFill>
        <p:spPr/>
      </p:pic>
      <p:sp>
        <p:nvSpPr>
          <p:cNvPr id="28" name="CuadroTexto 27">
            <a:extLst>
              <a:ext uri="{FF2B5EF4-FFF2-40B4-BE49-F238E27FC236}">
                <a16:creationId xmlns:a16="http://schemas.microsoft.com/office/drawing/2014/main" id="{F3D18F95-1040-5148-83CC-8ACC86CE1B9B}"/>
              </a:ext>
            </a:extLst>
          </p:cNvPr>
          <p:cNvSpPr txBox="1"/>
          <p:nvPr/>
        </p:nvSpPr>
        <p:spPr bwMode="gray">
          <a:xfrm>
            <a:off x="7896225" y="6875465"/>
            <a:ext cx="43053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AR" sz="900">
                <a:hlinkClick r:id="rId3" tooltip="https://www.flickr.com/photos/jblndl/138978422"/>
              </a:rPr>
              <a:t>Esta foto</a:t>
            </a:r>
            <a:r>
              <a:rPr lang="es-AR" sz="900"/>
              <a:t> de Autor desconocido está bajo licencia </a:t>
            </a:r>
            <a:r>
              <a:rPr lang="es-AR" sz="900">
                <a:hlinkClick r:id="rId4" tooltip="https://creativecommons.org/licenses/by-sa/3.0/"/>
              </a:rPr>
              <a:t>CC BY-SA</a:t>
            </a:r>
            <a:endParaRPr lang="es-AR" sz="900"/>
          </a:p>
        </p:txBody>
      </p:sp>
    </p:spTree>
    <p:extLst>
      <p:ext uri="{BB962C8B-B14F-4D97-AF65-F5344CB8AC3E}">
        <p14:creationId xmlns:p14="http://schemas.microsoft.com/office/powerpoint/2010/main" val="73759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57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6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9" name="Subtítulo 8">
            <a:extLst>
              <a:ext uri="{FF2B5EF4-FFF2-40B4-BE49-F238E27FC236}">
                <a16:creationId xmlns:a16="http://schemas.microsoft.com/office/drawing/2014/main" id="{E5A04C5B-BCDD-1F4D-9D16-02A7FB03365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A very quick demo</a:t>
            </a:r>
          </a:p>
        </p:txBody>
      </p:sp>
      <p:sp>
        <p:nvSpPr>
          <p:cNvPr id="54" name="Título 53">
            <a:extLst>
              <a:ext uri="{FF2B5EF4-FFF2-40B4-BE49-F238E27FC236}">
                <a16:creationId xmlns:a16="http://schemas.microsoft.com/office/drawing/2014/main" id="{58569B84-E436-ED44-AADE-F3C617FFB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pic>
        <p:nvPicPr>
          <p:cNvPr id="3" name="Imagen 2" descr="Imagen que contiene captura de pantalla&#10;&#10;Descripción generada automáticamente">
            <a:extLst>
              <a:ext uri="{FF2B5EF4-FFF2-40B4-BE49-F238E27FC236}">
                <a16:creationId xmlns:a16="http://schemas.microsoft.com/office/drawing/2014/main" id="{DD2D739B-0146-694A-9E3E-94D68F4B39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299" y="1524852"/>
            <a:ext cx="10721827" cy="4194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1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578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83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7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9" name="Subtítulo 8">
            <a:extLst>
              <a:ext uri="{FF2B5EF4-FFF2-40B4-BE49-F238E27FC236}">
                <a16:creationId xmlns:a16="http://schemas.microsoft.com/office/drawing/2014/main" id="{E5A04C5B-BCDD-1F4D-9D16-02A7FB03365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A very quick demo</a:t>
            </a:r>
          </a:p>
        </p:txBody>
      </p:sp>
      <p:sp>
        <p:nvSpPr>
          <p:cNvPr id="54" name="Título 53">
            <a:extLst>
              <a:ext uri="{FF2B5EF4-FFF2-40B4-BE49-F238E27FC236}">
                <a16:creationId xmlns:a16="http://schemas.microsoft.com/office/drawing/2014/main" id="{58569B84-E436-ED44-AADE-F3C617FFB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pic>
        <p:nvPicPr>
          <p:cNvPr id="60" name="Imagen 59" descr="Imagen que contiene captura de pantalla&#10;&#10;Descripción generada automáticamente">
            <a:extLst>
              <a:ext uri="{FF2B5EF4-FFF2-40B4-BE49-F238E27FC236}">
                <a16:creationId xmlns:a16="http://schemas.microsoft.com/office/drawing/2014/main" id="{EF1B871C-4BAF-9B43-9AE5-3CF0D7ABD7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5007" y="1492599"/>
            <a:ext cx="7140397" cy="4809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91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10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8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9" name="Subtítulo 8">
            <a:extLst>
              <a:ext uri="{FF2B5EF4-FFF2-40B4-BE49-F238E27FC236}">
                <a16:creationId xmlns:a16="http://schemas.microsoft.com/office/drawing/2014/main" id="{E5A04C5B-BCDD-1F4D-9D16-02A7FB03365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A very quick demo</a:t>
            </a:r>
          </a:p>
        </p:txBody>
      </p:sp>
      <p:sp>
        <p:nvSpPr>
          <p:cNvPr id="54" name="Título 53">
            <a:extLst>
              <a:ext uri="{FF2B5EF4-FFF2-40B4-BE49-F238E27FC236}">
                <a16:creationId xmlns:a16="http://schemas.microsoft.com/office/drawing/2014/main" id="{58569B84-E436-ED44-AADE-F3C617FFB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pic>
        <p:nvPicPr>
          <p:cNvPr id="4" name="Imagen 3" descr="Imagen que contiene captura de pantalla&#10;&#10;Descripción generada automáticamente">
            <a:extLst>
              <a:ext uri="{FF2B5EF4-FFF2-40B4-BE49-F238E27FC236}">
                <a16:creationId xmlns:a16="http://schemas.microsoft.com/office/drawing/2014/main" id="{F5A60E73-DAD8-AE49-BE93-6455C71573C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0931" y="1902806"/>
            <a:ext cx="10130867" cy="393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49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36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9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9" name="Subtítulo 8">
            <a:extLst>
              <a:ext uri="{FF2B5EF4-FFF2-40B4-BE49-F238E27FC236}">
                <a16:creationId xmlns:a16="http://schemas.microsoft.com/office/drawing/2014/main" id="{E5A04C5B-BCDD-1F4D-9D16-02A7FB03365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How we are using it at Indystry System?</a:t>
            </a:r>
          </a:p>
        </p:txBody>
      </p:sp>
      <p:sp>
        <p:nvSpPr>
          <p:cNvPr id="54" name="Título 53">
            <a:extLst>
              <a:ext uri="{FF2B5EF4-FFF2-40B4-BE49-F238E27FC236}">
                <a16:creationId xmlns:a16="http://schemas.microsoft.com/office/drawing/2014/main" id="{58569B84-E436-ED44-AADE-F3C617FFB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S SSM Parameter Store</a:t>
            </a:r>
            <a:endParaRPr lang="es-AR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A9EE324-DD77-764B-83E2-A4FC8381344D}"/>
              </a:ext>
            </a:extLst>
          </p:cNvPr>
          <p:cNvSpPr txBox="1"/>
          <p:nvPr/>
        </p:nvSpPr>
        <p:spPr bwMode="gray">
          <a:xfrm>
            <a:off x="1649414" y="2019869"/>
            <a:ext cx="8995839" cy="42990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AR" dirty="0"/>
              <a:t>Already being used:</a:t>
            </a:r>
          </a:p>
          <a:p>
            <a:endParaRPr lang="es-A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/>
              <a:t>To store shared tags between different Cfn sta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A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/>
              <a:t>To store infraestructure configu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A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/>
              <a:t>To reference CFn Stacks outputs as inputs in other dependant CFn Stacks (that we still don’t want to heavy coup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AR" dirty="0"/>
          </a:p>
          <a:p>
            <a:r>
              <a:rPr lang="es-AR" dirty="0"/>
              <a:t>Ready to use on Node apps with Pod Node Lib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A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/>
              <a:t>To store app configuration for all our lambdas and 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/>
              <a:t>To store secrets that don’t need to be rotated</a:t>
            </a:r>
          </a:p>
        </p:txBody>
      </p:sp>
    </p:spTree>
    <p:extLst>
      <p:ext uri="{BB962C8B-B14F-4D97-AF65-F5344CB8AC3E}">
        <p14:creationId xmlns:p14="http://schemas.microsoft.com/office/powerpoint/2010/main" val="168648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7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FA&quot; g=&quot;95&quot; b=&quot;30&quot;/&gt;&lt;m_nBrightness tagver0=&quot;26206&quot; tagname0=&quot;m_nBrightnessUNRECOGNIZED&quot; val=&quot;0&quot;/&gt;&lt;/elem&gt;&lt;elem m_fUsage=&quot;9.00000000000000022204E-01&quot;&gt;&lt;m_msothmcolidx val=&quot;0&quot;/&gt;&lt;m_rgb r=&quot;CE&quot; g=&quot;FA&quot; b=&quot;B4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u9rkotT0mcGFkqu3LY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YYkt8wSdyQMvvqghGL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Ei8WAgR9eIYfLwDFGl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4CMUn3SMmx03vsJsG0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novation_Template_180525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40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Innovation_Template_180523.potx" id="{767C0794-9AA6-4936-B2A3-2F036F750CCB}" vid="{53EF8483-8E84-4DA6-A1C6-0472A80C825C}"/>
    </a:ext>
  </a:extLst>
</a:theme>
</file>

<file path=ppt/theme/theme2.xml><?xml version="1.0" encoding="utf-8"?>
<a:theme xmlns:a="http://schemas.openxmlformats.org/drawingml/2006/main" name="2_Master_Slides_16-9_2017-11-23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3.xml><?xml version="1.0" encoding="utf-8"?>
<a:theme xmlns:a="http://schemas.openxmlformats.org/drawingml/2006/main" name="4_Blank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4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SharedContentType xmlns="Microsoft.SharePoint.Taxonomy.ContentTypeSync" SourceId="7c593367-9bb5-4764-945e-f6a26d2260c4" ContentTypeId="0x0101" PreviousValue="false"/>
</file>

<file path=customXml/item4.xml><?xml version="1.0" encoding="utf-8"?>
<?mso-contentType ?>
<p:Policy xmlns:p="office.server.policy" id="" local="true">
  <p:Name>Document</p:Name>
  <p:Description/>
  <p:Statement/>
  <p:PolicyItems>
    <p:PolicyItem featureId="Microsoft.Office.RecordsManagement.PolicyFeatures.Expiration" staticId="0x0101|-2126682137" UniqueId="ab3b55e9-aae5-4563-b264-599d7d4a4f77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Bayer SharePoint Retention Policy 2.1"/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AF2F8C23D00041AD39A83D58820641" ma:contentTypeVersion="0" ma:contentTypeDescription="Create a new document." ma:contentTypeScope="" ma:versionID="16d48b49f6426930d5dfefadb60cd718">
  <xsd:schema xmlns:xsd="http://www.w3.org/2001/XMLSchema" xmlns:xs="http://www.w3.org/2001/XMLSchema" xmlns:p="http://schemas.microsoft.com/office/2006/metadata/properties" xmlns:ns1="http://schemas.microsoft.com/sharepoint/v3" xmlns:ns2="e941b624-166c-4987-9ed6-d539972f16a8" xmlns:ns3="83fd0a3a-c00a-4443-99a8-9e213103e63a" targetNamespace="http://schemas.microsoft.com/office/2006/metadata/properties" ma:root="true" ma:fieldsID="9cc429934e847f44fbd2f410d9cd2cca" ns1:_="" ns2:_="" ns3:_="">
    <xsd:import namespace="http://schemas.microsoft.com/sharepoint/v3"/>
    <xsd:import namespace="e941b624-166c-4987-9ed6-d539972f16a8"/>
    <xsd:import namespace="83fd0a3a-c00a-4443-99a8-9e213103e63a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gbbd9102adcd43839cd73b51972a464c" minOccurs="0"/>
                <xsd:element ref="ns1:_dlc_Exempt" minOccurs="0"/>
                <xsd:element ref="ns1:_dlc_ExpireDateSaved" minOccurs="0"/>
                <xsd:element ref="ns1:_dlc_ExpireDate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2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13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14" nillable="true" ma:displayName="Expiration Date" ma:hidden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41b624-166c-4987-9ed6-d539972f16a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a55c703b-7ee2-4e64-be55-42104beab2de}" ma:internalName="TaxCatchAll" ma:showField="CatchAllData" ma:web="83fd0a3a-c00a-4443-99a8-9e213103e6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a55c703b-7ee2-4e64-be55-42104beab2de}" ma:internalName="TaxCatchAllLabel" ma:readOnly="true" ma:showField="CatchAllDataLabel" ma:web="83fd0a3a-c00a-4443-99a8-9e213103e6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bbd9102adcd43839cd73b51972a464c" ma:index="10" ma:taxonomy="true" ma:internalName="gbbd9102adcd43839cd73b51972a464c" ma:taxonomyFieldName="DataClassBayerRetention" ma:displayName="Data Class" ma:readOnly="false" ma:default="1;#Short-Term|6d967203-8346-4b9c-90f8-b3828a3fa508" ma:fieldId="{0bbd9102-adcd-4383-9cd7-3b51972a464c}" ma:sspId="7c593367-9bb5-4764-945e-f6a26d2260c4" ma:termSetId="a305235b-fecf-45b3-8300-71c0f432cbc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fd0a3a-c00a-4443-99a8-9e213103e63a" elementFormDefault="qualified">
    <xsd:import namespace="http://schemas.microsoft.com/office/2006/documentManagement/types"/>
    <xsd:import namespace="http://schemas.microsoft.com/office/infopath/2007/PartnerControls"/>
    <xsd:element name="_dlc_DocId" ma:index="15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6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7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941b624-166c-4987-9ed6-d539972f16a8">
      <Value>1</Value>
    </TaxCatchAll>
    <gbbd9102adcd43839cd73b51972a464c xmlns="e941b624-166c-4987-9ed6-d539972f16a8">
      <Terms xmlns="http://schemas.microsoft.com/office/infopath/2007/PartnerControls">
        <TermInfo xmlns="http://schemas.microsoft.com/office/infopath/2007/PartnerControls">
          <TermName xmlns="http://schemas.microsoft.com/office/infopath/2007/PartnerControls">Short-Term</TermName>
          <TermId xmlns="http://schemas.microsoft.com/office/infopath/2007/PartnerControls">6d967203-8346-4b9c-90f8-b3828a3fa508</TermId>
        </TermInfo>
      </Terms>
    </gbbd9102adcd43839cd73b51972a464c>
    <_dlc_DocId xmlns="83fd0a3a-c00a-4443-99a8-9e213103e63a">E3PDXXREPEFR-209009135-2216</_dlc_DocId>
    <_dlc_ExpireDateSaved xmlns="http://schemas.microsoft.com/sharepoint/v3" xsi:nil="true"/>
    <_dlc_DocIdUrl xmlns="83fd0a3a-c00a-4443-99a8-9e213103e63a">
      <Url>http://sp-coll-bag.bayer-ag.com/sites/020327/IS/_layouts/15/DocIdRedir.aspx?ID=E3PDXXREPEFR-209009135-2216</Url>
      <Description>E3PDXXREPEFR-209009135-2216</Description>
    </_dlc_DocIdUrl>
    <_dlc_ExpireDate xmlns="http://schemas.microsoft.com/sharepoint/v3">2020-10-05T14:06:03+00:00</_dlc_ExpireDate>
  </documentManagement>
</p:properties>
</file>

<file path=customXml/itemProps1.xml><?xml version="1.0" encoding="utf-8"?>
<ds:datastoreItem xmlns:ds="http://schemas.openxmlformats.org/officeDocument/2006/customXml" ds:itemID="{0FC14377-87DD-4AB9-B168-B374CD6DA8E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A8551B-2E29-4BA9-AF4F-FDF8CD32DBD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A0C0A3B9-0A7E-4589-A71A-C1AB082FD31B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E806CB75-EB06-4EBA-B81E-E36A624BF3A9}">
  <ds:schemaRefs>
    <ds:schemaRef ds:uri="office.server.policy"/>
  </ds:schemaRefs>
</ds:datastoreItem>
</file>

<file path=customXml/itemProps5.xml><?xml version="1.0" encoding="utf-8"?>
<ds:datastoreItem xmlns:ds="http://schemas.openxmlformats.org/officeDocument/2006/customXml" ds:itemID="{82E01D86-EB8B-4ECD-8EB9-90F39C252F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941b624-166c-4987-9ed6-d539972f16a8"/>
    <ds:schemaRef ds:uri="83fd0a3a-c00a-4443-99a8-9e213103e6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7816A002-A305-4613-81DF-4DD144B10D9B}">
  <ds:schemaRefs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83fd0a3a-c00a-4443-99a8-9e213103e63a"/>
    <ds:schemaRef ds:uri="http://schemas.microsoft.com/office/2006/metadata/properties"/>
    <ds:schemaRef ds:uri="http://purl.org/dc/terms/"/>
    <ds:schemaRef ds:uri="e941b624-166c-4987-9ed6-d539972f16a8"/>
    <ds:schemaRef ds:uri="http://schemas.microsoft.com/sharepoint/v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_BAG_PPT-master_16-9_2017-11-20</Template>
  <TotalTime>8479</TotalTime>
  <Words>1092</Words>
  <Application>Microsoft Macintosh PowerPoint</Application>
  <PresentationFormat>Personalizado</PresentationFormat>
  <Paragraphs>158</Paragraphs>
  <Slides>19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9</vt:i4>
      </vt:variant>
    </vt:vector>
  </HeadingPairs>
  <TitlesOfParts>
    <vt:vector size="26" baseType="lpstr">
      <vt:lpstr>Arial</vt:lpstr>
      <vt:lpstr>Calibri</vt:lpstr>
      <vt:lpstr>Helvetica Neue</vt:lpstr>
      <vt:lpstr>Innovation_Template_180525</vt:lpstr>
      <vt:lpstr>2_Master_Slides_16-9_2017-11-23</vt:lpstr>
      <vt:lpstr>4_Blank</vt:lpstr>
      <vt:lpstr>think-cell Folie</vt:lpstr>
      <vt:lpstr>Presentación de PowerPoint</vt:lpstr>
      <vt:lpstr>AWS SSM Parameter Store</vt:lpstr>
      <vt:lpstr>AWS SSM Parameter Store</vt:lpstr>
      <vt:lpstr>AWS SSM Parameter Store</vt:lpstr>
      <vt:lpstr>AWS SSM Parameter Store</vt:lpstr>
      <vt:lpstr>AWS SSM Parameter Store</vt:lpstr>
      <vt:lpstr>AWS SSM Parameter Store</vt:lpstr>
      <vt:lpstr>AWS SSM Parameter Store</vt:lpstr>
      <vt:lpstr>AWS SSM Parameter Store</vt:lpstr>
      <vt:lpstr>AWS SSM Parameter Store</vt:lpstr>
      <vt:lpstr>AWS SSM Parameter Store</vt:lpstr>
      <vt:lpstr>AWS SSM Parameter Store</vt:lpstr>
      <vt:lpstr>AWS SSM Parameter Store</vt:lpstr>
      <vt:lpstr>AWS SSM Parameter Store</vt:lpstr>
      <vt:lpstr>AWS SSM Parameter Store</vt:lpstr>
      <vt:lpstr>AWS Secrets Manager</vt:lpstr>
      <vt:lpstr>AWS Secrets Manager</vt:lpstr>
      <vt:lpstr>AWS Secrets Manager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 sit amet, consetetur</dc:title>
  <dc:creator>James Yancey</dc:creator>
  <cp:lastModifiedBy>FREIRIA, AXEL [AG/5000]</cp:lastModifiedBy>
  <cp:revision>489</cp:revision>
  <cp:lastPrinted>2018-09-04T14:26:01Z</cp:lastPrinted>
  <dcterms:created xsi:type="dcterms:W3CDTF">2017-12-08T12:12:15Z</dcterms:created>
  <dcterms:modified xsi:type="dcterms:W3CDTF">2019-08-22T15:1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ContentTypeId">
    <vt:lpwstr>0x01010017AF2F8C23D00041AD39A83D58820641</vt:lpwstr>
  </property>
  <property fmtid="{D5CDD505-2E9C-101B-9397-08002B2CF9AE}" pid="4" name="DataClassBayerRetention">
    <vt:lpwstr>1;#Short-Term|6d967203-8346-4b9c-90f8-b3828a3fa508</vt:lpwstr>
  </property>
  <property fmtid="{D5CDD505-2E9C-101B-9397-08002B2CF9AE}" pid="5" name="_dlc_policyId">
    <vt:lpwstr>0x0101|-2126682137</vt:lpwstr>
  </property>
  <property fmtid="{D5CDD505-2E9C-101B-9397-08002B2CF9AE}" pid="6" name="ItemRetentionFormula">
    <vt:lpwstr>&lt;formula id="Bayer SharePoint Retention Policy 2.1" /&gt;</vt:lpwstr>
  </property>
  <property fmtid="{D5CDD505-2E9C-101B-9397-08002B2CF9AE}" pid="7" name="_dlc_DocIdItemGuid">
    <vt:lpwstr>c8fae312-7ce7-43ab-a80d-b8227f0467b0</vt:lpwstr>
  </property>
</Properties>
</file>